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6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7.xml" ContentType="application/vnd.openxmlformats-officedocument.theme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8.xml" ContentType="application/vnd.openxmlformats-officedocument.them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heme/theme9.xml" ContentType="application/vnd.openxmlformats-officedocument.them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1.xml" ContentType="application/vnd.openxmlformats-officedocument.presentationml.notesSlide+xml"/>
  <Override PartName="/ppt/ink/ink1.xml" ContentType="application/inkml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tags/tag178.xml" ContentType="application/vnd.openxmlformats-officedocument.presentationml.tags+xml"/>
  <Override PartName="/ppt/theme/themeOverride3.xml" ContentType="application/vnd.openxmlformats-officedocument.themeOverride+xml"/>
  <Override PartName="/ppt/theme/themeOverride4.xml" ContentType="application/vnd.openxmlformats-officedocument.themeOverr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2" r:id="rId2"/>
    <p:sldMasterId id="2147483675" r:id="rId3"/>
    <p:sldMasterId id="2147483702" r:id="rId4"/>
    <p:sldMasterId id="2147483716" r:id="rId5"/>
    <p:sldMasterId id="2147483731" r:id="rId6"/>
    <p:sldMasterId id="2147483756" r:id="rId7"/>
    <p:sldMasterId id="2147483772" r:id="rId8"/>
  </p:sldMasterIdLst>
  <p:notesMasterIdLst>
    <p:notesMasterId r:id="rId51"/>
  </p:notesMasterIdLst>
  <p:sldIdLst>
    <p:sldId id="256" r:id="rId9"/>
    <p:sldId id="367" r:id="rId10"/>
    <p:sldId id="4268" r:id="rId11"/>
    <p:sldId id="2145706237" r:id="rId12"/>
    <p:sldId id="257" r:id="rId13"/>
    <p:sldId id="260" r:id="rId14"/>
    <p:sldId id="261" r:id="rId15"/>
    <p:sldId id="259" r:id="rId16"/>
    <p:sldId id="258" r:id="rId17"/>
    <p:sldId id="2134804449" r:id="rId18"/>
    <p:sldId id="2134804450" r:id="rId19"/>
    <p:sldId id="2134804451" r:id="rId20"/>
    <p:sldId id="2145706239" r:id="rId21"/>
    <p:sldId id="366" r:id="rId22"/>
    <p:sldId id="4262" r:id="rId23"/>
    <p:sldId id="2145706232" r:id="rId24"/>
    <p:sldId id="368" r:id="rId25"/>
    <p:sldId id="2134804448" r:id="rId26"/>
    <p:sldId id="2145706245" r:id="rId27"/>
    <p:sldId id="269" r:id="rId28"/>
    <p:sldId id="2424" r:id="rId29"/>
    <p:sldId id="2145706234" r:id="rId30"/>
    <p:sldId id="2145706233" r:id="rId31"/>
    <p:sldId id="2145706241" r:id="rId32"/>
    <p:sldId id="2145706246" r:id="rId33"/>
    <p:sldId id="2145706247" r:id="rId34"/>
    <p:sldId id="267" r:id="rId35"/>
    <p:sldId id="283" r:id="rId36"/>
    <p:sldId id="2145706238" r:id="rId37"/>
    <p:sldId id="2145706249" r:id="rId38"/>
    <p:sldId id="2145706250" r:id="rId39"/>
    <p:sldId id="2145706235" r:id="rId40"/>
    <p:sldId id="2145706236" r:id="rId41"/>
    <p:sldId id="2145706231" r:id="rId42"/>
    <p:sldId id="2145706251" r:id="rId43"/>
    <p:sldId id="2145706252" r:id="rId44"/>
    <p:sldId id="2145706253" r:id="rId45"/>
    <p:sldId id="2145706254" r:id="rId46"/>
    <p:sldId id="4263" r:id="rId47"/>
    <p:sldId id="2145706244" r:id="rId48"/>
    <p:sldId id="4266" r:id="rId49"/>
    <p:sldId id="2443" r:id="rId5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B10FB1"/>
    <a:srgbClr val="009900"/>
    <a:srgbClr val="99FF99"/>
    <a:srgbClr val="99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980" autoAdjust="0"/>
  </p:normalViewPr>
  <p:slideViewPr>
    <p:cSldViewPr snapToGrid="0">
      <p:cViewPr varScale="1">
        <p:scale>
          <a:sx n="98" d="100"/>
          <a:sy n="98" d="100"/>
        </p:scale>
        <p:origin x="82" y="91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slide" Target="slides/slide31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50" Type="http://schemas.openxmlformats.org/officeDocument/2006/relationships/slide" Target="slides/slide42.xml"/><Relationship Id="rId55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slide" Target="slides/slide33.xml"/><Relationship Id="rId54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8" Type="http://schemas.openxmlformats.org/officeDocument/2006/relationships/slideMaster" Target="slideMasters/slideMaster8.xml"/><Relationship Id="rId51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2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s-ES" sz="1200" b="1" dirty="0">
                <a:solidFill>
                  <a:schemeClr val="tx1"/>
                </a:solidFill>
              </a:rPr>
              <a:t>Takarmány</a:t>
            </a:r>
            <a:r>
              <a:rPr lang="es-ES" sz="1200" b="1" baseline="0" dirty="0">
                <a:solidFill>
                  <a:schemeClr val="tx1"/>
                </a:solidFill>
              </a:rPr>
              <a:t> </a:t>
            </a:r>
            <a:r>
              <a:rPr lang="es-ES" sz="1200" b="1" baseline="0" dirty="0" err="1">
                <a:solidFill>
                  <a:schemeClr val="tx1"/>
                </a:solidFill>
              </a:rPr>
              <a:t>vitamin</a:t>
            </a:r>
            <a:r>
              <a:rPr lang="es-ES" sz="1200" b="1" baseline="0" dirty="0">
                <a:solidFill>
                  <a:schemeClr val="tx1"/>
                </a:solidFill>
              </a:rPr>
              <a:t> </a:t>
            </a:r>
            <a:r>
              <a:rPr lang="es-ES" sz="1200" b="1" baseline="0" dirty="0" err="1">
                <a:solidFill>
                  <a:schemeClr val="tx1"/>
                </a:solidFill>
              </a:rPr>
              <a:t>költsége</a:t>
            </a:r>
            <a:r>
              <a:rPr lang="es-ES" sz="1200" b="1" dirty="0">
                <a:solidFill>
                  <a:schemeClr val="tx1"/>
                </a:solidFill>
              </a:rPr>
              <a:t> </a:t>
            </a:r>
            <a:r>
              <a:rPr lang="es-ES" sz="1200" b="0" dirty="0">
                <a:solidFill>
                  <a:schemeClr val="tx1"/>
                </a:solidFill>
              </a:rPr>
              <a:t>(EUR/T</a:t>
            </a:r>
            <a:r>
              <a:rPr lang="es-ES" sz="1200" b="0" baseline="0" dirty="0">
                <a:solidFill>
                  <a:schemeClr val="tx1"/>
                </a:solidFill>
              </a:rPr>
              <a:t> feed)*   </a:t>
            </a:r>
            <a:r>
              <a:rPr lang="es-ES" sz="1200" b="0" dirty="0">
                <a:solidFill>
                  <a:schemeClr val="tx1"/>
                </a:solidFill>
              </a:rPr>
              <a:t> </a:t>
            </a:r>
          </a:p>
        </c:rich>
      </c:tx>
      <c:layout>
        <c:manualLayout>
          <c:xMode val="edge"/>
          <c:yMode val="edge"/>
          <c:x val="7.3175068121652642E-2"/>
          <c:y val="2.7423252316196713E-2"/>
        </c:manualLayout>
      </c:layout>
      <c:overlay val="0"/>
      <c:spPr>
        <a:noFill/>
        <a:ln w="19991">
          <a:noFill/>
        </a:ln>
      </c:spPr>
    </c:title>
    <c:autoTitleDeleted val="0"/>
    <c:plotArea>
      <c:layout>
        <c:manualLayout>
          <c:layoutTarget val="inner"/>
          <c:xMode val="edge"/>
          <c:yMode val="edge"/>
          <c:x val="0.11320758376528049"/>
          <c:y val="0.19981484682539824"/>
          <c:w val="0.85614672382477752"/>
          <c:h val="0.580848586046329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eed</c:v>
                </c:pt>
              </c:strCache>
            </c:strRef>
          </c:tx>
          <c:spPr>
            <a:solidFill>
              <a:schemeClr val="tx2"/>
            </a:solidFill>
            <a:ln>
              <a:solidFill>
                <a:schemeClr val="accent2">
                  <a:lumMod val="40000"/>
                  <a:lumOff val="60000"/>
                </a:schemeClr>
              </a:solidFill>
            </a:ln>
            <a:effectLst/>
          </c:spPr>
          <c:invertIfNegative val="0"/>
          <c:cat>
            <c:numRef>
              <c:f>Sheet1!$A$2:$A$16</c:f>
              <c:numCache>
                <c:formatCode>General</c:formatCode>
                <c:ptCount val="1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 formatCode="mmm\-yy">
                  <c:v>44621</c:v>
                </c:pt>
              </c:numCache>
            </c:numRef>
          </c:cat>
          <c:val>
            <c:numRef>
              <c:f>Sheet1!$B$2:$B$16</c:f>
            </c:numRef>
          </c:val>
          <c:extLst>
            <c:ext xmlns:c16="http://schemas.microsoft.com/office/drawing/2014/chart" uri="{C3380CC4-5D6E-409C-BE32-E72D297353CC}">
              <c16:uniqueId val="{00000000-4DDC-407E-AF87-36CA301A7FE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tamins</c:v>
                </c:pt>
              </c:strCache>
            </c:strRef>
          </c:tx>
          <c:spPr>
            <a:solidFill>
              <a:srgbClr val="FF9900"/>
            </a:solidFill>
            <a:ln w="9995">
              <a:noFill/>
              <a:prstDash val="solid"/>
            </a:ln>
          </c:spPr>
          <c:invertIfNegative val="0"/>
          <c:cat>
            <c:numRef>
              <c:f>Sheet1!$A$2:$A$16</c:f>
              <c:numCache>
                <c:formatCode>General</c:formatCode>
                <c:ptCount val="1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 formatCode="mmm\-yy">
                  <c:v>44621</c:v>
                </c:pt>
              </c:numCache>
            </c:num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.5</c:v>
                </c:pt>
                <c:pt idx="1">
                  <c:v>3</c:v>
                </c:pt>
                <c:pt idx="2">
                  <c:v>2.8</c:v>
                </c:pt>
                <c:pt idx="3">
                  <c:v>2.8</c:v>
                </c:pt>
                <c:pt idx="4">
                  <c:v>2.8</c:v>
                </c:pt>
                <c:pt idx="5">
                  <c:v>2.7</c:v>
                </c:pt>
                <c:pt idx="6">
                  <c:v>2.2000000000000002</c:v>
                </c:pt>
                <c:pt idx="7">
                  <c:v>2.1</c:v>
                </c:pt>
                <c:pt idx="8">
                  <c:v>2.2000000000000002</c:v>
                </c:pt>
                <c:pt idx="9">
                  <c:v>2.8</c:v>
                </c:pt>
                <c:pt idx="10">
                  <c:v>6.8</c:v>
                </c:pt>
                <c:pt idx="11">
                  <c:v>4.5</c:v>
                </c:pt>
                <c:pt idx="12">
                  <c:v>3.5</c:v>
                </c:pt>
                <c:pt idx="13">
                  <c:v>3.3</c:v>
                </c:pt>
                <c:pt idx="14">
                  <c:v>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DDC-407E-AF87-36CA301A7F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32923448"/>
        <c:axId val="1"/>
      </c:barChart>
      <c:catAx>
        <c:axId val="232923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7489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8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  <c:max val="8"/>
          <c:min val="0"/>
        </c:scaling>
        <c:delete val="0"/>
        <c:axPos val="l"/>
        <c:majorGridlines>
          <c:spPr>
            <a:ln w="7489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low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2923448"/>
        <c:crosses val="autoZero"/>
        <c:crossBetween val="between"/>
      </c:valAx>
      <c:spPr>
        <a:noFill/>
        <a:ln w="19991">
          <a:noFill/>
        </a:ln>
      </c:spPr>
    </c:plotArea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25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s-ES" sz="1625" b="1" dirty="0">
                <a:solidFill>
                  <a:schemeClr val="tx1"/>
                </a:solidFill>
              </a:rPr>
              <a:t>Takarmány </a:t>
            </a:r>
            <a:r>
              <a:rPr lang="es-ES" sz="1625" b="1" dirty="0" err="1">
                <a:solidFill>
                  <a:schemeClr val="tx1"/>
                </a:solidFill>
              </a:rPr>
              <a:t>vitamin</a:t>
            </a:r>
            <a:r>
              <a:rPr lang="es-ES" sz="1625" b="1" dirty="0">
                <a:solidFill>
                  <a:schemeClr val="tx1"/>
                </a:solidFill>
              </a:rPr>
              <a:t> </a:t>
            </a:r>
            <a:r>
              <a:rPr lang="es-ES" sz="1625" b="1" dirty="0" err="1">
                <a:solidFill>
                  <a:schemeClr val="tx1"/>
                </a:solidFill>
              </a:rPr>
              <a:t>költsége</a:t>
            </a:r>
            <a:r>
              <a:rPr lang="es-ES" sz="1625" b="1" dirty="0">
                <a:solidFill>
                  <a:schemeClr val="tx1"/>
                </a:solidFill>
              </a:rPr>
              <a:t> </a:t>
            </a:r>
            <a:r>
              <a:rPr lang="es-ES" sz="1219" b="0" dirty="0">
                <a:solidFill>
                  <a:schemeClr val="tx1"/>
                </a:solidFill>
              </a:rPr>
              <a:t>(EUR/T</a:t>
            </a:r>
            <a:r>
              <a:rPr lang="es-ES" sz="1219" b="0" baseline="0" dirty="0">
                <a:solidFill>
                  <a:schemeClr val="tx1"/>
                </a:solidFill>
              </a:rPr>
              <a:t> feed)*</a:t>
            </a:r>
            <a:r>
              <a:rPr lang="es-ES" sz="1219" b="0" dirty="0">
                <a:solidFill>
                  <a:schemeClr val="tx1"/>
                </a:solidFill>
              </a:rPr>
              <a:t> </a:t>
            </a:r>
            <a:endParaRPr lang="es-ES" sz="1600" b="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2.2526046392333503E-2"/>
          <c:y val="3.2026591225885206E-2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0.10035583769273444"/>
          <c:y val="0.18157372839760702"/>
          <c:w val="0.86899837864719376"/>
          <c:h val="0.651513901833507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Feed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numRef>
              <c:f>Sheet1!$A$2:$A$16</c:f>
              <c:numCache>
                <c:formatCode>General</c:formatCode>
                <c:ptCount val="1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 formatCode="mmm\-yy">
                  <c:v>44621</c:v>
                </c:pt>
              </c:numCache>
            </c:numRef>
          </c:cat>
          <c:val>
            <c:numRef>
              <c:f>Sheet1!$B$2:$B$16</c:f>
              <c:numCache>
                <c:formatCode>General</c:formatCode>
                <c:ptCount val="15"/>
                <c:pt idx="0">
                  <c:v>240</c:v>
                </c:pt>
                <c:pt idx="1">
                  <c:v>210</c:v>
                </c:pt>
                <c:pt idx="2">
                  <c:v>210</c:v>
                </c:pt>
                <c:pt idx="3">
                  <c:v>270</c:v>
                </c:pt>
                <c:pt idx="4">
                  <c:v>250</c:v>
                </c:pt>
                <c:pt idx="5">
                  <c:v>310</c:v>
                </c:pt>
                <c:pt idx="6">
                  <c:v>275</c:v>
                </c:pt>
                <c:pt idx="7">
                  <c:v>240</c:v>
                </c:pt>
                <c:pt idx="8">
                  <c:v>230</c:v>
                </c:pt>
                <c:pt idx="9">
                  <c:v>250</c:v>
                </c:pt>
                <c:pt idx="10">
                  <c:v>250</c:v>
                </c:pt>
                <c:pt idx="11">
                  <c:v>262</c:v>
                </c:pt>
                <c:pt idx="12">
                  <c:v>349</c:v>
                </c:pt>
                <c:pt idx="13">
                  <c:v>405</c:v>
                </c:pt>
                <c:pt idx="14">
                  <c:v>5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158-48A3-917A-8F1255EFE14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Vitamins</c:v>
                </c:pt>
              </c:strCache>
            </c:strRef>
          </c:tx>
          <c:spPr>
            <a:solidFill>
              <a:srgbClr val="FF9900"/>
            </a:solidFill>
            <a:ln>
              <a:noFill/>
            </a:ln>
            <a:effectLst/>
          </c:spPr>
          <c:invertIfNegative val="0"/>
          <c:cat>
            <c:numRef>
              <c:f>Sheet1!$A$2:$A$16</c:f>
              <c:numCache>
                <c:formatCode>General</c:formatCode>
                <c:ptCount val="15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  <c:pt idx="13">
                  <c:v>2021</c:v>
                </c:pt>
                <c:pt idx="14" formatCode="mmm\-yy">
                  <c:v>44621</c:v>
                </c:pt>
              </c:numCache>
            </c:numRef>
          </c:cat>
          <c:val>
            <c:numRef>
              <c:f>Sheet1!$C$2:$C$16</c:f>
              <c:numCache>
                <c:formatCode>General</c:formatCode>
                <c:ptCount val="15"/>
                <c:pt idx="0">
                  <c:v>3.5</c:v>
                </c:pt>
                <c:pt idx="1">
                  <c:v>3</c:v>
                </c:pt>
                <c:pt idx="2">
                  <c:v>2.8</c:v>
                </c:pt>
                <c:pt idx="3">
                  <c:v>2.8</c:v>
                </c:pt>
                <c:pt idx="4">
                  <c:v>2.8</c:v>
                </c:pt>
                <c:pt idx="5">
                  <c:v>2.7</c:v>
                </c:pt>
                <c:pt idx="6">
                  <c:v>2.2000000000000002</c:v>
                </c:pt>
                <c:pt idx="7">
                  <c:v>2.1</c:v>
                </c:pt>
                <c:pt idx="8">
                  <c:v>2.2000000000000002</c:v>
                </c:pt>
                <c:pt idx="9">
                  <c:v>2.8</c:v>
                </c:pt>
                <c:pt idx="10">
                  <c:v>6.8</c:v>
                </c:pt>
                <c:pt idx="11">
                  <c:v>4.5</c:v>
                </c:pt>
                <c:pt idx="12">
                  <c:v>3.5</c:v>
                </c:pt>
                <c:pt idx="13">
                  <c:v>3.3</c:v>
                </c:pt>
                <c:pt idx="14">
                  <c:v>3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158-48A3-917A-8F1255EFE1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230368248"/>
        <c:axId val="1"/>
      </c:barChart>
      <c:catAx>
        <c:axId val="2303682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673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autoZero"/>
        <c:auto val="1"/>
        <c:lblAlgn val="ctr"/>
        <c:lblOffset val="100"/>
        <c:noMultiLvlLbl val="0"/>
      </c:catAx>
      <c:valAx>
        <c:axId val="1"/>
        <c:scaling>
          <c:orientation val="minMax"/>
          <c:max val="500"/>
          <c:min val="0"/>
        </c:scaling>
        <c:delete val="0"/>
        <c:axPos val="l"/>
        <c:majorGridlines>
          <c:spPr>
            <a:ln w="9673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low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6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30368248"/>
        <c:crosses val="autoZero"/>
        <c:crossBetween val="between"/>
        <c:majorUnit val="50"/>
      </c:valAx>
      <c:spPr>
        <a:noFill/>
        <a:ln w="25794">
          <a:noFill/>
        </a:ln>
      </c:spPr>
    </c:plotArea>
    <c:legend>
      <c:legendPos val="r"/>
      <c:layout>
        <c:manualLayout>
          <c:xMode val="edge"/>
          <c:yMode val="edge"/>
          <c:x val="0.330029675270336"/>
          <c:y val="0.88239102706232642"/>
          <c:w val="0.32708333333333334"/>
          <c:h val="7.5268817204301078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59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0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09-26T13:54:27.396"/>
    </inkml:context>
    <inkml:brush xml:id="br0">
      <inkml:brushProperty name="width" value="0.4" units="cm"/>
      <inkml:brushProperty name="height" value="0.8" units="cm"/>
      <inkml:brushProperty name="color" value="#FFFFFF"/>
      <inkml:brushProperty name="tip" value="rectangle"/>
      <inkml:brushProperty name="rasterOp" value="maskPen"/>
      <inkml:brushProperty name="ignorePressure" value="1"/>
    </inkml:brush>
  </inkml:definitions>
  <inkml:trace contextRef="#ctx0" brushRef="#br0">2776 25,'0'-1,"-1"0,1 0,-1 0,1 0,-1-1,0 1,1 1,-1-1,0 0,0 0,0 0,1 0,-1 0,0 1,0-1,0 0,0 1,-1-1,1 1,0-1,0 1,0-1,0 1,0 0,-1 0,1 0,-2 0,-39-5,38 5,-27 1,-1 1,1 2,1 1,-1 1,1 2,-49 19,-8 1,43-12,0 2,2 2,0 2,-71 50,67-41,-2-2,-101 45,95-54,-123 51,151-59,1 2,0 1,0 0,-32 29,3-2,-96 59,89-63,-14 9,5-3,-87 70,17 1,-141 128,210-165,34-36,-44 38,80-79,-54 47,-85 58,96-73,27-17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60FDFA-35B0-4B5C-B05E-E5821494F73A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08AE83-C978-4DFD-8049-97DBDCF2B9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4123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936DC39-6421-4FD2-B7B9-2B7F9CF5621E}" type="slidenum">
              <a:rPr lang="nl-NL" altLang="nl-NL" smtClean="0"/>
              <a:pPr/>
              <a:t>3</a:t>
            </a:fld>
            <a:endParaRPr lang="nl-NL" altLang="nl-NL"/>
          </a:p>
        </p:txBody>
      </p:sp>
    </p:spTree>
    <p:extLst>
      <p:ext uri="{BB962C8B-B14F-4D97-AF65-F5344CB8AC3E}">
        <p14:creationId xmlns:p14="http://schemas.microsoft.com/office/powerpoint/2010/main" val="41631356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108AE83-C978-4DFD-8049-97DBDCF2B93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2866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hu-HU" dirty="0"/>
              <a:t>430 kam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8F650B-D63F-48CD-AD98-306697F20035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hu-H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74458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err="1"/>
              <a:t>Gizai</a:t>
            </a:r>
            <a:r>
              <a:rPr lang="fr-FR" dirty="0"/>
              <a:t> </a:t>
            </a:r>
            <a:r>
              <a:rPr lang="fr-FR" dirty="0" err="1"/>
              <a:t>nagy</a:t>
            </a:r>
            <a:r>
              <a:rPr lang="fr-FR" dirty="0"/>
              <a:t> </a:t>
            </a:r>
            <a:r>
              <a:rPr lang="fr-FR" dirty="0" err="1"/>
              <a:t>piramis</a:t>
            </a:r>
            <a:r>
              <a:rPr lang="fr-FR" dirty="0"/>
              <a:t>: </a:t>
            </a:r>
            <a:r>
              <a:rPr lang="hu-HU" dirty="0"/>
              <a:t>	</a:t>
            </a:r>
            <a:r>
              <a:rPr lang="fr-FR" dirty="0"/>
              <a:t>2 484 448</a:t>
            </a:r>
          </a:p>
          <a:p>
            <a:r>
              <a:rPr lang="fr-FR" dirty="0" err="1"/>
              <a:t>Hafré</a:t>
            </a:r>
            <a:r>
              <a:rPr lang="fr-FR" dirty="0"/>
              <a:t> </a:t>
            </a:r>
            <a:r>
              <a:rPr lang="fr-FR" dirty="0" err="1"/>
              <a:t>piramis</a:t>
            </a:r>
            <a:r>
              <a:rPr lang="fr-FR" dirty="0"/>
              <a:t>	</a:t>
            </a:r>
            <a:r>
              <a:rPr lang="hu-HU" dirty="0"/>
              <a:t>     	</a:t>
            </a:r>
            <a:r>
              <a:rPr lang="fr-FR" dirty="0"/>
              <a:t>2 106 587</a:t>
            </a:r>
          </a:p>
          <a:p>
            <a:r>
              <a:rPr lang="fr-FR" dirty="0" err="1"/>
              <a:t>Menkauré</a:t>
            </a:r>
            <a:r>
              <a:rPr lang="fr-FR" dirty="0"/>
              <a:t> </a:t>
            </a:r>
            <a:r>
              <a:rPr lang="fr-FR" dirty="0" err="1"/>
              <a:t>piramis</a:t>
            </a:r>
            <a:r>
              <a:rPr lang="hu-HU" dirty="0"/>
              <a:t>      	   </a:t>
            </a:r>
            <a:r>
              <a:rPr lang="fr-FR" dirty="0"/>
              <a:t>233 432</a:t>
            </a:r>
          </a:p>
          <a:p>
            <a:r>
              <a:rPr lang="hu-HU" dirty="0"/>
              <a:t>Total</a:t>
            </a:r>
            <a:r>
              <a:rPr lang="fr-FR" dirty="0"/>
              <a:t>	</a:t>
            </a:r>
            <a:r>
              <a:rPr lang="hu-HU" dirty="0"/>
              <a:t>       	</a:t>
            </a:r>
            <a:r>
              <a:rPr lang="fr-FR" dirty="0"/>
              <a:t>4 824 467</a:t>
            </a:r>
          </a:p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8F650B-D63F-48CD-AD98-306697F20035}" type="slidenum">
              <a:rPr kumimoji="0" lang="hu-H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hu-H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635970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 altLang="es-ES" sz="1200" i="1" dirty="0"/>
              <a:t>-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olatility</a:t>
            </a:r>
            <a:r>
              <a:rPr lang="es-ES_tradnl" altLang="es-ES" sz="1200" i="1" dirty="0"/>
              <a:t>: severe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A and E </a:t>
            </a:r>
            <a:r>
              <a:rPr lang="es-ES_tradnl" altLang="es-ES" sz="1200" i="1" dirty="0" err="1"/>
              <a:t>shortage</a:t>
            </a:r>
            <a:r>
              <a:rPr lang="es-ES_tradnl" altLang="es-ES" sz="1200" i="1" dirty="0"/>
              <a:t> (and </a:t>
            </a:r>
            <a:r>
              <a:rPr lang="es-ES_tradnl" altLang="es-ES" sz="1200" i="1" dirty="0" err="1"/>
              <a:t>som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other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itamins</a:t>
            </a:r>
            <a:r>
              <a:rPr lang="es-ES_tradnl" altLang="es-ES" sz="1200" i="1" dirty="0"/>
              <a:t>) </a:t>
            </a:r>
            <a:r>
              <a:rPr lang="es-ES_tradnl" altLang="es-ES" sz="1200" i="1" dirty="0" err="1"/>
              <a:t>du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to</a:t>
            </a:r>
            <a:r>
              <a:rPr lang="es-ES_tradnl" altLang="es-ES" sz="1200" i="1" dirty="0"/>
              <a:t> Basf Quality </a:t>
            </a:r>
            <a:r>
              <a:rPr lang="es-ES_tradnl" altLang="es-ES" sz="1200" i="1" dirty="0" err="1"/>
              <a:t>issues</a:t>
            </a:r>
            <a:r>
              <a:rPr lang="es-ES_tradnl" altLang="es-ES" sz="1200" i="1" dirty="0"/>
              <a:t> and </a:t>
            </a:r>
            <a:r>
              <a:rPr lang="es-ES_tradnl" altLang="es-ES" sz="1200" i="1" dirty="0" err="1"/>
              <a:t>Chines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Government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restrictions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impacting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productio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du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to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environmental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issues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originated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a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unprecedented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olatitliy</a:t>
            </a:r>
            <a:r>
              <a:rPr lang="es-ES_tradnl" altLang="es-ES" sz="1200" i="1" dirty="0"/>
              <a:t> in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availability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with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peak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prices</a:t>
            </a:r>
            <a:r>
              <a:rPr lang="es-ES_tradnl" altLang="es-ES" sz="1200" i="1" dirty="0"/>
              <a:t> in 2018 (</a:t>
            </a:r>
            <a:r>
              <a:rPr lang="es-ES_tradnl" altLang="es-ES" sz="1200" i="1" dirty="0" err="1"/>
              <a:t>highest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prices</a:t>
            </a:r>
            <a:r>
              <a:rPr lang="es-ES_tradnl" altLang="es-ES" sz="1200" i="1" dirty="0"/>
              <a:t> in </a:t>
            </a:r>
            <a:r>
              <a:rPr lang="es-ES_tradnl" altLang="es-ES" sz="1200" i="1" dirty="0" err="1"/>
              <a:t>decades</a:t>
            </a:r>
            <a:r>
              <a:rPr lang="es-ES_tradnl" altLang="es-ES" sz="1200" i="1" dirty="0"/>
              <a:t>).</a:t>
            </a:r>
          </a:p>
          <a:p>
            <a:endParaRPr lang="es-ES_tradnl" altLang="es-ES" sz="1200" i="1" dirty="0"/>
          </a:p>
          <a:p>
            <a:r>
              <a:rPr lang="es-ES_tradnl" altLang="es-ES" sz="1200" i="1" dirty="0"/>
              <a:t>*</a:t>
            </a:r>
            <a:r>
              <a:rPr lang="es-ES_tradnl" altLang="es-ES" sz="1200" i="1" dirty="0" err="1"/>
              <a:t>Approx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cost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of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averag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levels</a:t>
            </a:r>
            <a:r>
              <a:rPr lang="es-ES_tradnl" altLang="es-ES" sz="1200" i="1" dirty="0"/>
              <a:t> (</a:t>
            </a:r>
            <a:r>
              <a:rPr lang="es-ES_tradnl" altLang="es-ES" sz="1200" i="1" dirty="0" err="1"/>
              <a:t>without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HyD</a:t>
            </a:r>
            <a:r>
              <a:rPr lang="es-ES_tradnl" altLang="es-ES" sz="1200" i="1" dirty="0"/>
              <a:t>, </a:t>
            </a:r>
            <a:r>
              <a:rPr lang="es-ES_tradnl" altLang="es-ES" sz="1200" i="1" dirty="0" err="1"/>
              <a:t>vit</a:t>
            </a:r>
            <a:r>
              <a:rPr lang="es-ES_tradnl" altLang="es-ES" sz="1200" i="1" dirty="0"/>
              <a:t> C) in </a:t>
            </a:r>
            <a:r>
              <a:rPr lang="es-ES_tradnl" altLang="es-ES" sz="1200" i="1" dirty="0" err="1"/>
              <a:t>broiler</a:t>
            </a:r>
            <a:r>
              <a:rPr lang="es-ES_tradnl" altLang="es-ES" sz="1200" i="1" dirty="0"/>
              <a:t> feed in Latam (</a:t>
            </a:r>
            <a:r>
              <a:rPr lang="es-ES_tradnl" altLang="es-ES" sz="1200" i="1" dirty="0" err="1"/>
              <a:t>Brazil</a:t>
            </a:r>
            <a:r>
              <a:rPr lang="es-ES_tradnl" altLang="es-ES" sz="1200" i="1" dirty="0"/>
              <a:t>, </a:t>
            </a:r>
            <a:r>
              <a:rPr lang="es-ES_tradnl" altLang="es-ES" sz="1200" i="1" dirty="0" err="1"/>
              <a:t>Mexico</a:t>
            </a:r>
            <a:r>
              <a:rPr lang="es-ES_tradnl" altLang="es-ES" sz="1200" i="1" dirty="0"/>
              <a:t>, Colombia, </a:t>
            </a:r>
            <a:r>
              <a:rPr lang="es-ES_tradnl" altLang="es-ES" sz="1200" i="1" dirty="0" err="1"/>
              <a:t>Peru</a:t>
            </a:r>
            <a:r>
              <a:rPr lang="es-ES_tradnl" altLang="es-ES" sz="1200" i="1" dirty="0"/>
              <a:t>), March 2022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43594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 altLang="es-ES" sz="1200" i="1" dirty="0"/>
              <a:t>-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olatility</a:t>
            </a:r>
            <a:r>
              <a:rPr lang="es-ES_tradnl" altLang="es-ES" sz="1200" i="1" dirty="0"/>
              <a:t>: severe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A and E </a:t>
            </a:r>
            <a:r>
              <a:rPr lang="es-ES_tradnl" altLang="es-ES" sz="1200" i="1" dirty="0" err="1"/>
              <a:t>shortage</a:t>
            </a:r>
            <a:r>
              <a:rPr lang="es-ES_tradnl" altLang="es-ES" sz="1200" i="1" dirty="0"/>
              <a:t> (and </a:t>
            </a:r>
            <a:r>
              <a:rPr lang="es-ES_tradnl" altLang="es-ES" sz="1200" i="1" dirty="0" err="1"/>
              <a:t>som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other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itamins</a:t>
            </a:r>
            <a:r>
              <a:rPr lang="es-ES_tradnl" altLang="es-ES" sz="1200" i="1" dirty="0"/>
              <a:t>) </a:t>
            </a:r>
            <a:r>
              <a:rPr lang="es-ES_tradnl" altLang="es-ES" sz="1200" i="1" dirty="0" err="1"/>
              <a:t>du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to</a:t>
            </a:r>
            <a:r>
              <a:rPr lang="es-ES_tradnl" altLang="es-ES" sz="1200" i="1" dirty="0"/>
              <a:t> Basf Quality </a:t>
            </a:r>
            <a:r>
              <a:rPr lang="es-ES_tradnl" altLang="es-ES" sz="1200" i="1" dirty="0" err="1"/>
              <a:t>issues</a:t>
            </a:r>
            <a:r>
              <a:rPr lang="es-ES_tradnl" altLang="es-ES" sz="1200" i="1" dirty="0"/>
              <a:t> and </a:t>
            </a:r>
            <a:r>
              <a:rPr lang="es-ES_tradnl" altLang="es-ES" sz="1200" i="1" dirty="0" err="1"/>
              <a:t>Chines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Government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restrictions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impacting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productio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du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to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environmental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issues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originated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a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unprecedented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olatitliy</a:t>
            </a:r>
            <a:r>
              <a:rPr lang="es-ES_tradnl" altLang="es-ES" sz="1200" i="1" dirty="0"/>
              <a:t> in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availability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with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peak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prices</a:t>
            </a:r>
            <a:r>
              <a:rPr lang="es-ES_tradnl" altLang="es-ES" sz="1200" i="1" dirty="0"/>
              <a:t> in 2018 (</a:t>
            </a:r>
            <a:r>
              <a:rPr lang="es-ES_tradnl" altLang="es-ES" sz="1200" i="1" dirty="0" err="1"/>
              <a:t>highest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prices</a:t>
            </a:r>
            <a:r>
              <a:rPr lang="es-ES_tradnl" altLang="es-ES" sz="1200" i="1" dirty="0"/>
              <a:t> in </a:t>
            </a:r>
            <a:r>
              <a:rPr lang="es-ES_tradnl" altLang="es-ES" sz="1200" i="1" dirty="0" err="1"/>
              <a:t>decades</a:t>
            </a:r>
            <a:r>
              <a:rPr lang="es-ES_tradnl" altLang="es-ES" sz="1200" i="1" dirty="0"/>
              <a:t>).</a:t>
            </a:r>
          </a:p>
          <a:p>
            <a:endParaRPr lang="es-ES_tradnl" altLang="es-ES" sz="1200" i="1" dirty="0"/>
          </a:p>
          <a:p>
            <a:r>
              <a:rPr lang="es-ES_tradnl" altLang="es-ES" sz="1200" i="1" dirty="0"/>
              <a:t>*</a:t>
            </a:r>
            <a:r>
              <a:rPr lang="es-ES_tradnl" altLang="es-ES" sz="1200" i="1" dirty="0" err="1"/>
              <a:t>Approx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cost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of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average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vitamin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levels</a:t>
            </a:r>
            <a:r>
              <a:rPr lang="es-ES_tradnl" altLang="es-ES" sz="1200" i="1" dirty="0"/>
              <a:t> (</a:t>
            </a:r>
            <a:r>
              <a:rPr lang="es-ES_tradnl" altLang="es-ES" sz="1200" i="1" dirty="0" err="1"/>
              <a:t>without</a:t>
            </a:r>
            <a:r>
              <a:rPr lang="es-ES_tradnl" altLang="es-ES" sz="1200" i="1" dirty="0"/>
              <a:t> </a:t>
            </a:r>
            <a:r>
              <a:rPr lang="es-ES_tradnl" altLang="es-ES" sz="1200" i="1" dirty="0" err="1"/>
              <a:t>HyD</a:t>
            </a:r>
            <a:r>
              <a:rPr lang="es-ES_tradnl" altLang="es-ES" sz="1200" i="1" dirty="0"/>
              <a:t>, </a:t>
            </a:r>
            <a:r>
              <a:rPr lang="es-ES_tradnl" altLang="es-ES" sz="1200" i="1" dirty="0" err="1"/>
              <a:t>vit</a:t>
            </a:r>
            <a:r>
              <a:rPr lang="es-ES_tradnl" altLang="es-ES" sz="1200" i="1" dirty="0"/>
              <a:t> C) in </a:t>
            </a:r>
            <a:r>
              <a:rPr lang="es-ES_tradnl" altLang="es-ES" sz="1200" i="1" dirty="0" err="1"/>
              <a:t>broiler</a:t>
            </a:r>
            <a:r>
              <a:rPr lang="es-ES_tradnl" altLang="es-ES" sz="1200" i="1" dirty="0"/>
              <a:t> feed in Latam (</a:t>
            </a:r>
            <a:r>
              <a:rPr lang="es-ES_tradnl" altLang="es-ES" sz="1200" i="1" dirty="0" err="1"/>
              <a:t>Brazil</a:t>
            </a:r>
            <a:r>
              <a:rPr lang="es-ES_tradnl" altLang="es-ES" sz="1200" i="1" dirty="0"/>
              <a:t>, </a:t>
            </a:r>
            <a:r>
              <a:rPr lang="es-ES_tradnl" altLang="es-ES" sz="1200" i="1" dirty="0" err="1"/>
              <a:t>Mexico</a:t>
            </a:r>
            <a:r>
              <a:rPr lang="es-ES_tradnl" altLang="es-ES" sz="1200" i="1" dirty="0"/>
              <a:t>, Colombia, </a:t>
            </a:r>
            <a:r>
              <a:rPr lang="es-ES_tradnl" altLang="es-ES" sz="1200" i="1" dirty="0" err="1"/>
              <a:t>Peru</a:t>
            </a:r>
            <a:r>
              <a:rPr lang="es-ES_tradnl" altLang="es-ES" sz="1200" i="1" dirty="0"/>
              <a:t>), March 2022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EA1EC3-38D3-9F43-B1F0-97D892A72D0C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10550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Trebuchet M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DEA1EC3-38D3-9F43-B1F0-97D892A72D0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rebuchet MS" panose="020B070302020209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182763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49.xml"/><Relationship Id="rId7" Type="http://schemas.openxmlformats.org/officeDocument/2006/relationships/image" Target="../media/image14.png"/><Relationship Id="rId2" Type="http://schemas.openxmlformats.org/officeDocument/2006/relationships/tags" Target="../tags/tag148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6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7" Type="http://schemas.openxmlformats.org/officeDocument/2006/relationships/image" Target="../media/image12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55.xml"/><Relationship Id="rId7" Type="http://schemas.openxmlformats.org/officeDocument/2006/relationships/image" Target="../media/image4.png"/><Relationship Id="rId2" Type="http://schemas.openxmlformats.org/officeDocument/2006/relationships/tags" Target="../tags/tag154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12.pn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5.pn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7" Type="http://schemas.openxmlformats.org/officeDocument/2006/relationships/image" Target="../media/image16.png"/><Relationship Id="rId2" Type="http://schemas.openxmlformats.org/officeDocument/2006/relationships/tags" Target="../tags/tag158.xml"/><Relationship Id="rId1" Type="http://schemas.openxmlformats.org/officeDocument/2006/relationships/vmlDrawing" Target="../drawings/vmlDrawing72.vml"/><Relationship Id="rId6" Type="http://schemas.openxmlformats.org/officeDocument/2006/relationships/oleObject" Target="../embeddings/oleObject71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60.xml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162.xml"/><Relationship Id="rId7" Type="http://schemas.openxmlformats.org/officeDocument/2006/relationships/image" Target="../media/image17.jpeg"/><Relationship Id="rId2" Type="http://schemas.openxmlformats.org/officeDocument/2006/relationships/tags" Target="../tags/tag161.xml"/><Relationship Id="rId1" Type="http://schemas.openxmlformats.org/officeDocument/2006/relationships/vmlDrawing" Target="../drawings/vmlDrawing73.vml"/><Relationship Id="rId6" Type="http://schemas.openxmlformats.org/officeDocument/2006/relationships/oleObject" Target="../embeddings/oleObject72.bin"/><Relationship Id="rId5" Type="http://schemas.openxmlformats.org/officeDocument/2006/relationships/slideMaster" Target="../slideMasters/slideMaster8.xml"/><Relationship Id="rId4" Type="http://schemas.openxmlformats.org/officeDocument/2006/relationships/tags" Target="../tags/tag163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76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171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20.png"/><Relationship Id="rId5" Type="http://schemas.openxmlformats.org/officeDocument/2006/relationships/oleObject" Target="../embeddings/oleObject76.bin"/><Relationship Id="rId4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0.xml"/><Relationship Id="rId7" Type="http://schemas.openxmlformats.org/officeDocument/2006/relationships/image" Target="../media/image4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35.xml"/><Relationship Id="rId7" Type="http://schemas.openxmlformats.org/officeDocument/2006/relationships/image" Target="../media/image8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7.xml"/><Relationship Id="rId4" Type="http://schemas.openxmlformats.org/officeDocument/2006/relationships/tags" Target="../tags/tag36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8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39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0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4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9.xml"/><Relationship Id="rId1" Type="http://schemas.openxmlformats.org/officeDocument/2006/relationships/vmlDrawing" Target="../drawings/vmlDrawing17.vml"/><Relationship Id="rId5" Type="http://schemas.openxmlformats.org/officeDocument/2006/relationships/oleObject" Target="../embeddings/oleObject17.bin"/><Relationship Id="rId4" Type="http://schemas.openxmlformats.org/officeDocument/2006/relationships/image" Target="../media/image10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7" Type="http://schemas.openxmlformats.org/officeDocument/2006/relationships/image" Target="../media/image12.png"/><Relationship Id="rId2" Type="http://schemas.openxmlformats.org/officeDocument/2006/relationships/tags" Target="../tags/tag54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7.xml"/><Relationship Id="rId7" Type="http://schemas.openxmlformats.org/officeDocument/2006/relationships/image" Target="../media/image13.png"/><Relationship Id="rId2" Type="http://schemas.openxmlformats.org/officeDocument/2006/relationships/tags" Target="../tags/tag56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12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61.xml"/><Relationship Id="rId7" Type="http://schemas.openxmlformats.org/officeDocument/2006/relationships/image" Target="../media/image13.png"/><Relationship Id="rId2" Type="http://schemas.openxmlformats.org/officeDocument/2006/relationships/tags" Target="../tags/tag6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2" Type="http://schemas.openxmlformats.org/officeDocument/2006/relationships/tags" Target="../tags/tag7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2" Type="http://schemas.openxmlformats.org/officeDocument/2006/relationships/tags" Target="../tags/tag74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2" Type="http://schemas.openxmlformats.org/officeDocument/2006/relationships/tags" Target="../tags/tag76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2" Type="http://schemas.openxmlformats.org/officeDocument/2006/relationships/tags" Target="../tags/tag7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81.xml"/><Relationship Id="rId7" Type="http://schemas.openxmlformats.org/officeDocument/2006/relationships/image" Target="../media/image13.png"/><Relationship Id="rId2" Type="http://schemas.openxmlformats.org/officeDocument/2006/relationships/tags" Target="../tags/tag80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6.png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12.png"/><Relationship Id="rId2" Type="http://schemas.openxmlformats.org/officeDocument/2006/relationships/tags" Target="../tags/tag84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87.xml"/><Relationship Id="rId7" Type="http://schemas.openxmlformats.org/officeDocument/2006/relationships/image" Target="../media/image13.png"/><Relationship Id="rId2" Type="http://schemas.openxmlformats.org/officeDocument/2006/relationships/tags" Target="../tags/tag8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12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91.xml"/><Relationship Id="rId7" Type="http://schemas.openxmlformats.org/officeDocument/2006/relationships/image" Target="../media/image13.png"/><Relationship Id="rId2" Type="http://schemas.openxmlformats.org/officeDocument/2006/relationships/tags" Target="../tags/tag90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9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2" Type="http://schemas.openxmlformats.org/officeDocument/2006/relationships/tags" Target="../tags/tag94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13.xml"/><Relationship Id="rId7" Type="http://schemas.openxmlformats.org/officeDocument/2006/relationships/image" Target="../media/image13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6.png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123.xml"/><Relationship Id="rId7" Type="http://schemas.openxmlformats.org/officeDocument/2006/relationships/image" Target="../media/image12.png"/><Relationship Id="rId2" Type="http://schemas.openxmlformats.org/officeDocument/2006/relationships/tags" Target="../tags/tag122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125.xml"/><Relationship Id="rId7" Type="http://schemas.openxmlformats.org/officeDocument/2006/relationships/image" Target="../media/image14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12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29.xml"/><Relationship Id="rId7" Type="http://schemas.openxmlformats.org/officeDocument/2006/relationships/image" Target="../media/image14.png"/><Relationship Id="rId2" Type="http://schemas.openxmlformats.org/officeDocument/2006/relationships/tags" Target="../tags/tag128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133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135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137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43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C49039F-F31E-40B9-973D-5FD9C1FA85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3D76B59-6005-4520-BB0A-51B90F350F3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E0FC45A-40D9-4863-93B5-66C3808FA3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40B1B7B-5D1A-46C2-8392-4A3124949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C198E10-D72B-488D-86FE-BBF67C478E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716091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677D3-81C4-47F0-BDC9-0B97A1633E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A07BAC8-A76C-4E4A-898C-1E97486052A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D4206E8-AB58-4515-AB15-88D0905EAF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4FE26FE-AF5F-4541-BDAD-5AF3B9C739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A92CFE-BFC0-49DA-BEAE-E16EAB365B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361454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2611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23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4A1EC-5405-41F8-8513-97687168C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FB00B4-33CE-494A-BB67-30294EE0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1AC2AB-79C7-44D8-A2D9-1231C29DC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285075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/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89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47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6F1AA278-D9AA-4281-91B8-DDCFD1E9E5C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0" y="3176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920ECC3-E579-40EC-83D9-A249560D80E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9923" y="3190484"/>
            <a:ext cx="5612156" cy="477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122443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1FE3D0-05F6-46C1-A5EA-B2DE3515B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81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1FE3D0-05F6-46C1-A5EA-B2DE3515B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48407E-796A-40CA-AB97-FD69035658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7C9C340-AD27-5841-BF8F-0CE7DDB2F1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4800" y="-1990"/>
            <a:ext cx="12196800" cy="6859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758033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0 w 12195175"/>
              <a:gd name="connsiteY3" fmla="*/ 6858000 h 6858000"/>
              <a:gd name="connsiteX4" fmla="*/ 0 w 12195175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10023475 w 12195175"/>
              <a:gd name="connsiteY4" fmla="*/ 53213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9925 w 12195175"/>
              <a:gd name="connsiteY6" fmla="*/ 52451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0 w 12195175"/>
              <a:gd name="connsiteY10" fmla="*/ 6858000 h 6858000"/>
              <a:gd name="connsiteX11" fmla="*/ 0 w 12195175"/>
              <a:gd name="connsiteY11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408277 w 12195175"/>
              <a:gd name="connsiteY6" fmla="*/ 4706327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166225 w 12195175"/>
              <a:gd name="connsiteY6" fmla="*/ 5076825 h 6867485"/>
              <a:gd name="connsiteX7" fmla="*/ 8639175 w 12195175"/>
              <a:gd name="connsiteY7" fmla="*/ 5302250 h 6867485"/>
              <a:gd name="connsiteX8" fmla="*/ 8791575 w 12195175"/>
              <a:gd name="connsiteY8" fmla="*/ 5426075 h 6867485"/>
              <a:gd name="connsiteX9" fmla="*/ 8709025 w 12195175"/>
              <a:gd name="connsiteY9" fmla="*/ 5559425 h 6867485"/>
              <a:gd name="connsiteX10" fmla="*/ 6647422 w 12195175"/>
              <a:gd name="connsiteY10" fmla="*/ 6120030 h 6867485"/>
              <a:gd name="connsiteX11" fmla="*/ 4105315 w 12195175"/>
              <a:gd name="connsiteY11" fmla="*/ 6867485 h 6867485"/>
              <a:gd name="connsiteX12" fmla="*/ 0 w 12195175"/>
              <a:gd name="connsiteY12" fmla="*/ 6858000 h 6867485"/>
              <a:gd name="connsiteX13" fmla="*/ 0 w 12195175"/>
              <a:gd name="connsiteY13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166225 w 12195175"/>
              <a:gd name="connsiteY5" fmla="*/ 5076825 h 6867485"/>
              <a:gd name="connsiteX6" fmla="*/ 8639175 w 12195175"/>
              <a:gd name="connsiteY6" fmla="*/ 5302250 h 6867485"/>
              <a:gd name="connsiteX7" fmla="*/ 8791575 w 12195175"/>
              <a:gd name="connsiteY7" fmla="*/ 5426075 h 6867485"/>
              <a:gd name="connsiteX8" fmla="*/ 8709025 w 12195175"/>
              <a:gd name="connsiteY8" fmla="*/ 5559425 h 6867485"/>
              <a:gd name="connsiteX9" fmla="*/ 6647422 w 12195175"/>
              <a:gd name="connsiteY9" fmla="*/ 612003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639175 w 12195175"/>
              <a:gd name="connsiteY5" fmla="*/ 5302250 h 6867485"/>
              <a:gd name="connsiteX6" fmla="*/ 8791575 w 12195175"/>
              <a:gd name="connsiteY6" fmla="*/ 5426075 h 6867485"/>
              <a:gd name="connsiteX7" fmla="*/ 8709025 w 12195175"/>
              <a:gd name="connsiteY7" fmla="*/ 5559425 h 6867485"/>
              <a:gd name="connsiteX8" fmla="*/ 6647422 w 12195175"/>
              <a:gd name="connsiteY8" fmla="*/ 612003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91575 w 12195175"/>
              <a:gd name="connsiteY5" fmla="*/ 5426075 h 6867485"/>
              <a:gd name="connsiteX6" fmla="*/ 8709025 w 12195175"/>
              <a:gd name="connsiteY6" fmla="*/ 5559425 h 6867485"/>
              <a:gd name="connsiteX7" fmla="*/ 6647422 w 12195175"/>
              <a:gd name="connsiteY7" fmla="*/ 612003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09025 w 12195175"/>
              <a:gd name="connsiteY5" fmla="*/ 5559425 h 6867485"/>
              <a:gd name="connsiteX6" fmla="*/ 6647422 w 12195175"/>
              <a:gd name="connsiteY6" fmla="*/ 612003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48929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35144 w 12195175"/>
              <a:gd name="connsiteY4" fmla="*/ 514898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5234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8919012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52344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880917 w 12195175"/>
              <a:gd name="connsiteY7" fmla="*/ 54229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503142 w 12195175"/>
              <a:gd name="connsiteY7" fmla="*/ 50673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131716 w 12195175"/>
              <a:gd name="connsiteY8" fmla="*/ 5457825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322191 w 12195175"/>
              <a:gd name="connsiteY9" fmla="*/ 5534025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07811 h 6858000"/>
              <a:gd name="connsiteX3" fmla="*/ 10768730 w 12195175"/>
              <a:gd name="connsiteY3" fmla="*/ 4999470 h 6858000"/>
              <a:gd name="connsiteX4" fmla="*/ 9312059 w 12195175"/>
              <a:gd name="connsiteY4" fmla="*/ 5344969 h 6858000"/>
              <a:gd name="connsiteX5" fmla="*/ 9254575 w 12195175"/>
              <a:gd name="connsiteY5" fmla="*/ 5234955 h 6858000"/>
              <a:gd name="connsiteX6" fmla="*/ 9090439 w 12195175"/>
              <a:gd name="connsiteY6" fmla="*/ 5356225 h 6858000"/>
              <a:gd name="connsiteX7" fmla="*/ 8369810 w 12195175"/>
              <a:gd name="connsiteY7" fmla="*/ 5378450 h 6858000"/>
              <a:gd name="connsiteX8" fmla="*/ 8493618 w 12195175"/>
              <a:gd name="connsiteY8" fmla="*/ 5473700 h 6858000"/>
              <a:gd name="connsiteX9" fmla="*/ 8436476 w 12195175"/>
              <a:gd name="connsiteY9" fmla="*/ 5556250 h 6858000"/>
              <a:gd name="connsiteX10" fmla="*/ 3191037 w 12195175"/>
              <a:gd name="connsiteY10" fmla="*/ 6642632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5175" h="6859990">
                <a:moveTo>
                  <a:pt x="0" y="0"/>
                </a:moveTo>
                <a:lnTo>
                  <a:pt x="12192000" y="0"/>
                </a:lnTo>
                <a:cubicBezTo>
                  <a:pt x="12193058" y="1588128"/>
                  <a:pt x="12194117" y="3119683"/>
                  <a:pt x="12195175" y="4707811"/>
                </a:cubicBezTo>
                <a:cubicBezTo>
                  <a:pt x="11709400" y="4788675"/>
                  <a:pt x="11441520" y="4853951"/>
                  <a:pt x="10768730" y="4999470"/>
                </a:cubicBezTo>
                <a:lnTo>
                  <a:pt x="9312059" y="5344969"/>
                </a:lnTo>
                <a:cubicBezTo>
                  <a:pt x="9297337" y="5292270"/>
                  <a:pt x="9292097" y="5275532"/>
                  <a:pt x="9254575" y="5234955"/>
                </a:cubicBezTo>
                <a:cubicBezTo>
                  <a:pt x="9182717" y="5248473"/>
                  <a:pt x="9110561" y="5300037"/>
                  <a:pt x="9090439" y="5356225"/>
                </a:cubicBezTo>
                <a:cubicBezTo>
                  <a:pt x="9018639" y="5285949"/>
                  <a:pt x="8708605" y="5037673"/>
                  <a:pt x="8369810" y="5378450"/>
                </a:cubicBezTo>
                <a:cubicBezTo>
                  <a:pt x="8429069" y="5436658"/>
                  <a:pt x="8426595" y="5447778"/>
                  <a:pt x="8493618" y="5473700"/>
                </a:cubicBezTo>
                <a:cubicBezTo>
                  <a:pt x="8485682" y="5499629"/>
                  <a:pt x="8472628" y="5489053"/>
                  <a:pt x="8436476" y="5556250"/>
                </a:cubicBezTo>
                <a:cubicBezTo>
                  <a:pt x="7470174" y="5798073"/>
                  <a:pt x="5874545" y="6234593"/>
                  <a:pt x="3910469" y="685999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tIns="144000" rIns="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63EA9692-0ED5-484D-87E7-AB6028AFB4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 presen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6EAFA9-6F43-6C47-B02C-42F4DA83E1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2715068304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30FEF9-13C6-49AD-BADC-B222739050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5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30FEF9-13C6-49AD-BADC-B22273905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6CC9449-DAE9-4B33-8F63-09E10883ED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AB7205D-F54E-6745-9EB7-B1839964D81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out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auto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F87B3A-229C-F140-8380-D91564A36F0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40000" y="6048369"/>
            <a:ext cx="2949512" cy="13904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21CBB47-F02A-2346-8EA8-8352E7AFC2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7176"/>
          <a:stretch/>
        </p:blipFill>
        <p:spPr bwMode="auto"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28F039EC-ED76-4766-8537-03B353F231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 presenter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5DA9896-9655-46F6-A88D-087362D557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241709179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29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52539A8-3270-4B01-8144-98B9A7185D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46C7AD5-0DD3-406F-ACB9-ACABB0D58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ivider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12DA6DC-0102-4FB2-A547-D52FC941F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9A730C8-66A5-4822-B3D3-B4581797F3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44008939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1AB7205D-F54E-6745-9EB7-B1839964D8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ltGray"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8EBEAFB-93C3-074C-9906-1D124DCCA6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9923" y="3190484"/>
            <a:ext cx="5612156" cy="4770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5E17CF1-21EE-4F02-912D-E11EFDC99D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4953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80" name="Rectangle 8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7518" y="2"/>
          <a:ext cx="158749" cy="1586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53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3080" name="Rectangle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518" y="2"/>
                        <a:ext cx="158749" cy="15860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A4754FC-EB36-47F8-809E-FA66BD3CEC9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2" y="2"/>
            <a:ext cx="87" cy="36899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80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7993" b="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Franklin Gothic Heavy" panose="020B0903020102020204" pitchFamily="34" charset="0"/>
              <a:ea typeface="+mj-ea"/>
              <a:cs typeface="+mj-cs"/>
              <a:sym typeface="Franklin Gothic Heavy" panose="020B0903020102020204" pitchFamily="34" charset="0"/>
            </a:endParaRPr>
          </a:p>
        </p:txBody>
      </p:sp>
      <p:sp>
        <p:nvSpPr>
          <p:cNvPr id="15" name="Picture Placeholder 9">
            <a:extLst>
              <a:ext uri="{FF2B5EF4-FFF2-40B4-BE49-F238E27FC236}">
                <a16:creationId xmlns:a16="http://schemas.microsoft.com/office/drawing/2014/main" id="{5E623EFD-6C9E-423A-BCFC-FE817D0AE8D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 bwMode="auto">
          <a:xfrm>
            <a:off x="2" y="2"/>
            <a:ext cx="12191999" cy="6858000"/>
          </a:xfrm>
          <a:custGeom>
            <a:avLst/>
            <a:gdLst>
              <a:gd name="connsiteX0" fmla="*/ 0 w 9143999"/>
              <a:gd name="connsiteY0" fmla="*/ 0 h 5148263"/>
              <a:gd name="connsiteX1" fmla="*/ 9143999 w 9143999"/>
              <a:gd name="connsiteY1" fmla="*/ 0 h 5148263"/>
              <a:gd name="connsiteX2" fmla="*/ 9143999 w 9143999"/>
              <a:gd name="connsiteY2" fmla="*/ 4241005 h 5148263"/>
              <a:gd name="connsiteX3" fmla="*/ 9092912 w 9143999"/>
              <a:gd name="connsiteY3" fmla="*/ 4250493 h 5148263"/>
              <a:gd name="connsiteX4" fmla="*/ 9023248 w 9143999"/>
              <a:gd name="connsiteY4" fmla="*/ 4262352 h 5148263"/>
              <a:gd name="connsiteX5" fmla="*/ 8921072 w 9143999"/>
              <a:gd name="connsiteY5" fmla="*/ 4281328 h 5148263"/>
              <a:gd name="connsiteX6" fmla="*/ 8786387 w 9143999"/>
              <a:gd name="connsiteY6" fmla="*/ 4309791 h 5148263"/>
              <a:gd name="connsiteX7" fmla="*/ 8616869 w 9143999"/>
              <a:gd name="connsiteY7" fmla="*/ 4347741 h 5148263"/>
              <a:gd name="connsiteX8" fmla="*/ 8407874 w 9143999"/>
              <a:gd name="connsiteY8" fmla="*/ 4397552 h 5148263"/>
              <a:gd name="connsiteX9" fmla="*/ 8157080 w 9143999"/>
              <a:gd name="connsiteY9" fmla="*/ 4459221 h 5148263"/>
              <a:gd name="connsiteX10" fmla="*/ 8150114 w 9143999"/>
              <a:gd name="connsiteY10" fmla="*/ 4440246 h 5148263"/>
              <a:gd name="connsiteX11" fmla="*/ 8140825 w 9143999"/>
              <a:gd name="connsiteY11" fmla="*/ 4421271 h 5148263"/>
              <a:gd name="connsiteX12" fmla="*/ 8131537 w 9143999"/>
              <a:gd name="connsiteY12" fmla="*/ 4407039 h 5148263"/>
              <a:gd name="connsiteX13" fmla="*/ 8119926 w 9143999"/>
              <a:gd name="connsiteY13" fmla="*/ 4395180 h 5148263"/>
              <a:gd name="connsiteX14" fmla="*/ 8089738 w 9143999"/>
              <a:gd name="connsiteY14" fmla="*/ 4404667 h 5148263"/>
              <a:gd name="connsiteX15" fmla="*/ 8075805 w 9143999"/>
              <a:gd name="connsiteY15" fmla="*/ 4411783 h 5148263"/>
              <a:gd name="connsiteX16" fmla="*/ 8064194 w 9143999"/>
              <a:gd name="connsiteY16" fmla="*/ 4418899 h 5148263"/>
              <a:gd name="connsiteX17" fmla="*/ 8054905 w 9143999"/>
              <a:gd name="connsiteY17" fmla="*/ 4428386 h 5148263"/>
              <a:gd name="connsiteX18" fmla="*/ 8045617 w 9143999"/>
              <a:gd name="connsiteY18" fmla="*/ 4437874 h 5148263"/>
              <a:gd name="connsiteX19" fmla="*/ 8038650 w 9143999"/>
              <a:gd name="connsiteY19" fmla="*/ 4449734 h 5148263"/>
              <a:gd name="connsiteX20" fmla="*/ 8034006 w 9143999"/>
              <a:gd name="connsiteY20" fmla="*/ 4461593 h 5148263"/>
              <a:gd name="connsiteX21" fmla="*/ 8010784 w 9143999"/>
              <a:gd name="connsiteY21" fmla="*/ 4437874 h 5148263"/>
              <a:gd name="connsiteX22" fmla="*/ 7985240 w 9143999"/>
              <a:gd name="connsiteY22" fmla="*/ 4416527 h 5148263"/>
              <a:gd name="connsiteX23" fmla="*/ 7955052 w 9143999"/>
              <a:gd name="connsiteY23" fmla="*/ 4399923 h 5148263"/>
              <a:gd name="connsiteX24" fmla="*/ 7938797 w 9143999"/>
              <a:gd name="connsiteY24" fmla="*/ 4392808 h 5148263"/>
              <a:gd name="connsiteX25" fmla="*/ 7922542 w 9143999"/>
              <a:gd name="connsiteY25" fmla="*/ 4388064 h 5148263"/>
              <a:gd name="connsiteX26" fmla="*/ 7899320 w 9143999"/>
              <a:gd name="connsiteY26" fmla="*/ 4383320 h 5148263"/>
              <a:gd name="connsiteX27" fmla="*/ 7878421 w 9143999"/>
              <a:gd name="connsiteY27" fmla="*/ 4378576 h 5148263"/>
              <a:gd name="connsiteX28" fmla="*/ 7857521 w 9143999"/>
              <a:gd name="connsiteY28" fmla="*/ 4376204 h 5148263"/>
              <a:gd name="connsiteX29" fmla="*/ 7836622 w 9143999"/>
              <a:gd name="connsiteY29" fmla="*/ 4376204 h 5148263"/>
              <a:gd name="connsiteX30" fmla="*/ 7815722 w 9143999"/>
              <a:gd name="connsiteY30" fmla="*/ 4378576 h 5148263"/>
              <a:gd name="connsiteX31" fmla="*/ 7797145 w 9143999"/>
              <a:gd name="connsiteY31" fmla="*/ 4380948 h 5148263"/>
              <a:gd name="connsiteX32" fmla="*/ 7778568 w 9143999"/>
              <a:gd name="connsiteY32" fmla="*/ 4385692 h 5148263"/>
              <a:gd name="connsiteX33" fmla="*/ 7759991 w 9143999"/>
              <a:gd name="connsiteY33" fmla="*/ 4390436 h 5148263"/>
              <a:gd name="connsiteX34" fmla="*/ 7741413 w 9143999"/>
              <a:gd name="connsiteY34" fmla="*/ 4397552 h 5148263"/>
              <a:gd name="connsiteX35" fmla="*/ 7725158 w 9143999"/>
              <a:gd name="connsiteY35" fmla="*/ 4404667 h 5148263"/>
              <a:gd name="connsiteX36" fmla="*/ 7694970 w 9143999"/>
              <a:gd name="connsiteY36" fmla="*/ 4423643 h 5148263"/>
              <a:gd name="connsiteX37" fmla="*/ 7669426 w 9143999"/>
              <a:gd name="connsiteY37" fmla="*/ 4447362 h 5148263"/>
              <a:gd name="connsiteX38" fmla="*/ 7646205 w 9143999"/>
              <a:gd name="connsiteY38" fmla="*/ 4473453 h 5148263"/>
              <a:gd name="connsiteX39" fmla="*/ 7650849 w 9143999"/>
              <a:gd name="connsiteY39" fmla="*/ 4480569 h 5148263"/>
              <a:gd name="connsiteX40" fmla="*/ 7662460 w 9143999"/>
              <a:gd name="connsiteY40" fmla="*/ 4492428 h 5148263"/>
              <a:gd name="connsiteX41" fmla="*/ 7671748 w 9143999"/>
              <a:gd name="connsiteY41" fmla="*/ 4501916 h 5148263"/>
              <a:gd name="connsiteX42" fmla="*/ 7683359 w 9143999"/>
              <a:gd name="connsiteY42" fmla="*/ 4509031 h 5148263"/>
              <a:gd name="connsiteX43" fmla="*/ 7697292 w 9143999"/>
              <a:gd name="connsiteY43" fmla="*/ 4518519 h 5148263"/>
              <a:gd name="connsiteX44" fmla="*/ 7713547 w 9143999"/>
              <a:gd name="connsiteY44" fmla="*/ 4525635 h 5148263"/>
              <a:gd name="connsiteX45" fmla="*/ 7701936 w 9143999"/>
              <a:gd name="connsiteY45" fmla="*/ 4537494 h 5148263"/>
              <a:gd name="connsiteX46" fmla="*/ 7692648 w 9143999"/>
              <a:gd name="connsiteY46" fmla="*/ 4554098 h 5148263"/>
              <a:gd name="connsiteX47" fmla="*/ 7683359 w 9143999"/>
              <a:gd name="connsiteY47" fmla="*/ 4568329 h 5148263"/>
              <a:gd name="connsiteX48" fmla="*/ 7676393 w 9143999"/>
              <a:gd name="connsiteY48" fmla="*/ 4584933 h 5148263"/>
              <a:gd name="connsiteX49" fmla="*/ 7276980 w 9143999"/>
              <a:gd name="connsiteY49" fmla="*/ 4695227 h 5148263"/>
              <a:gd name="connsiteX50" fmla="*/ 6821836 w 9143999"/>
              <a:gd name="connsiteY50" fmla="*/ 4823310 h 5148263"/>
              <a:gd name="connsiteX51" fmla="*/ 6306316 w 9143999"/>
              <a:gd name="connsiteY51" fmla="*/ 4975113 h 5148263"/>
              <a:gd name="connsiteX52" fmla="*/ 5728097 w 9143999"/>
              <a:gd name="connsiteY52" fmla="*/ 5148262 h 5148263"/>
              <a:gd name="connsiteX53" fmla="*/ 9143999 w 9143999"/>
              <a:gd name="connsiteY53" fmla="*/ 5148262 h 5148263"/>
              <a:gd name="connsiteX54" fmla="*/ 9143999 w 9143999"/>
              <a:gd name="connsiteY54" fmla="*/ 5148263 h 5148263"/>
              <a:gd name="connsiteX55" fmla="*/ 0 w 9143999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3999" h="5148263">
                <a:moveTo>
                  <a:pt x="0" y="0"/>
                </a:moveTo>
                <a:lnTo>
                  <a:pt x="9143999" y="0"/>
                </a:lnTo>
                <a:lnTo>
                  <a:pt x="9143999" y="4241005"/>
                </a:lnTo>
                <a:lnTo>
                  <a:pt x="9092912" y="4250493"/>
                </a:lnTo>
                <a:lnTo>
                  <a:pt x="9023248" y="4262352"/>
                </a:lnTo>
                <a:lnTo>
                  <a:pt x="8921072" y="4281328"/>
                </a:lnTo>
                <a:lnTo>
                  <a:pt x="8786387" y="4309791"/>
                </a:lnTo>
                <a:lnTo>
                  <a:pt x="8616869" y="4347741"/>
                </a:lnTo>
                <a:lnTo>
                  <a:pt x="8407874" y="4397552"/>
                </a:lnTo>
                <a:lnTo>
                  <a:pt x="8157080" y="4459221"/>
                </a:lnTo>
                <a:lnTo>
                  <a:pt x="8150114" y="4440246"/>
                </a:lnTo>
                <a:lnTo>
                  <a:pt x="8140825" y="4421271"/>
                </a:lnTo>
                <a:lnTo>
                  <a:pt x="8131537" y="4407039"/>
                </a:lnTo>
                <a:lnTo>
                  <a:pt x="8119926" y="4395180"/>
                </a:lnTo>
                <a:lnTo>
                  <a:pt x="8089738" y="4404667"/>
                </a:lnTo>
                <a:lnTo>
                  <a:pt x="8075805" y="4411783"/>
                </a:lnTo>
                <a:lnTo>
                  <a:pt x="8064194" y="4418899"/>
                </a:lnTo>
                <a:lnTo>
                  <a:pt x="8054905" y="4428386"/>
                </a:lnTo>
                <a:lnTo>
                  <a:pt x="8045617" y="4437874"/>
                </a:lnTo>
                <a:lnTo>
                  <a:pt x="8038650" y="4449734"/>
                </a:lnTo>
                <a:lnTo>
                  <a:pt x="8034006" y="4461593"/>
                </a:lnTo>
                <a:lnTo>
                  <a:pt x="8010784" y="4437874"/>
                </a:lnTo>
                <a:lnTo>
                  <a:pt x="7985240" y="4416527"/>
                </a:lnTo>
                <a:lnTo>
                  <a:pt x="7955052" y="4399923"/>
                </a:lnTo>
                <a:lnTo>
                  <a:pt x="7938797" y="4392808"/>
                </a:lnTo>
                <a:lnTo>
                  <a:pt x="7922542" y="4388064"/>
                </a:lnTo>
                <a:lnTo>
                  <a:pt x="7899320" y="4383320"/>
                </a:lnTo>
                <a:lnTo>
                  <a:pt x="7878421" y="4378576"/>
                </a:lnTo>
                <a:lnTo>
                  <a:pt x="7857521" y="4376204"/>
                </a:lnTo>
                <a:lnTo>
                  <a:pt x="7836622" y="4376204"/>
                </a:lnTo>
                <a:lnTo>
                  <a:pt x="7815722" y="4378576"/>
                </a:lnTo>
                <a:lnTo>
                  <a:pt x="7797145" y="4380948"/>
                </a:lnTo>
                <a:lnTo>
                  <a:pt x="7778568" y="4385692"/>
                </a:lnTo>
                <a:lnTo>
                  <a:pt x="7759991" y="4390436"/>
                </a:lnTo>
                <a:lnTo>
                  <a:pt x="7741413" y="4397552"/>
                </a:lnTo>
                <a:lnTo>
                  <a:pt x="7725158" y="4404667"/>
                </a:lnTo>
                <a:lnTo>
                  <a:pt x="7694970" y="4423643"/>
                </a:lnTo>
                <a:lnTo>
                  <a:pt x="7669426" y="4447362"/>
                </a:lnTo>
                <a:lnTo>
                  <a:pt x="7646205" y="4473453"/>
                </a:lnTo>
                <a:lnTo>
                  <a:pt x="7650849" y="4480569"/>
                </a:lnTo>
                <a:lnTo>
                  <a:pt x="7662460" y="4492428"/>
                </a:lnTo>
                <a:lnTo>
                  <a:pt x="7671748" y="4501916"/>
                </a:lnTo>
                <a:lnTo>
                  <a:pt x="7683359" y="4509031"/>
                </a:lnTo>
                <a:lnTo>
                  <a:pt x="7697292" y="4518519"/>
                </a:lnTo>
                <a:lnTo>
                  <a:pt x="7713547" y="4525635"/>
                </a:lnTo>
                <a:lnTo>
                  <a:pt x="7701936" y="4537494"/>
                </a:lnTo>
                <a:lnTo>
                  <a:pt x="7692648" y="4554098"/>
                </a:lnTo>
                <a:lnTo>
                  <a:pt x="7683359" y="4568329"/>
                </a:lnTo>
                <a:lnTo>
                  <a:pt x="7676393" y="4584933"/>
                </a:lnTo>
                <a:lnTo>
                  <a:pt x="7276980" y="4695227"/>
                </a:lnTo>
                <a:lnTo>
                  <a:pt x="6821836" y="4823310"/>
                </a:lnTo>
                <a:lnTo>
                  <a:pt x="6306316" y="4975113"/>
                </a:lnTo>
                <a:lnTo>
                  <a:pt x="5728097" y="5148262"/>
                </a:lnTo>
                <a:lnTo>
                  <a:pt x="9143999" y="5148262"/>
                </a:lnTo>
                <a:lnTo>
                  <a:pt x="9143999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144000" rIns="0" anchor="t" anchorCtr="0">
            <a:noAutofit/>
          </a:bodyPr>
          <a:lstStyle>
            <a:lvl1pPr marL="0" indent="0" algn="ctr">
              <a:buFontTx/>
              <a:buNone/>
              <a:defRPr sz="213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l-NL" noProof="0"/>
              <a:t>Klik op het pictogram als u een afbeelding wilt toevoegen</a:t>
            </a:r>
            <a:endParaRPr lang="en-US" noProof="0"/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id="{35B53571-8888-4BAF-B716-DC3BE31643B0}"/>
              </a:ext>
            </a:extLst>
          </p:cNvPr>
          <p:cNvSpPr>
            <a:spLocks noGrp="1" noChangeArrowheads="1"/>
          </p:cNvSpPr>
          <p:nvPr>
            <p:ph type="title" hasCustomPrompt="1"/>
            <p:custDataLst>
              <p:tags r:id="rId4"/>
            </p:custDataLst>
          </p:nvPr>
        </p:nvSpPr>
        <p:spPr bwMode="auto">
          <a:xfrm>
            <a:off x="757601" y="1794546"/>
            <a:ext cx="10672567" cy="11069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90000"/>
              </a:lnSpc>
              <a:defRPr sz="7993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</a:t>
            </a:r>
            <a:r>
              <a:rPr lang="en-US" altLang="nl-NL"/>
              <a:t>Add title</a:t>
            </a:r>
            <a:endParaRPr lang="en-US" altLang="nl-NL" noProof="0"/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642FAD9A-D363-43C0-8D0F-1F39C0B43AD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08289" y="5414284"/>
            <a:ext cx="5183712" cy="1443716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5B14E215-98C5-412D-A8B2-F1C98DA4D16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57601" y="5265270"/>
            <a:ext cx="8209937" cy="368990"/>
          </a:xfrm>
        </p:spPr>
        <p:txBody>
          <a:bodyPr/>
          <a:lstStyle>
            <a:lvl1pPr marL="0" indent="0">
              <a:buNone/>
              <a:defRPr sz="2398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LACE, D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7602377-024C-43C2-BC1A-61FEAC2B1C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7601" y="5688842"/>
            <a:ext cx="8209937" cy="368990"/>
          </a:xfrm>
        </p:spPr>
        <p:txBody>
          <a:bodyPr/>
          <a:lstStyle>
            <a:lvl1pPr marL="0" indent="0">
              <a:buNone/>
              <a:defRPr sz="2398" i="0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RESENTER, document</a:t>
            </a:r>
          </a:p>
        </p:txBody>
      </p:sp>
    </p:spTree>
    <p:extLst>
      <p:ext uri="{BB962C8B-B14F-4D97-AF65-F5344CB8AC3E}">
        <p14:creationId xmlns:p14="http://schemas.microsoft.com/office/powerpoint/2010/main" val="130904062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/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80" name="Rectangle 8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7518" y="2"/>
          <a:ext cx="158749" cy="1586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77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3080" name="Rectangle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518" y="2"/>
                        <a:ext cx="158749" cy="15860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5A4754FC-EB36-47F8-809E-FA66BD3CEC9E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2" y="2"/>
            <a:ext cx="87" cy="36899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80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394" b="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Franklin Gothic Heavy" panose="020B0903020102020204" pitchFamily="34" charset="0"/>
              <a:ea typeface="+mj-ea"/>
              <a:cs typeface="+mj-cs"/>
              <a:sym typeface="Franklin Gothic Heavy" panose="020B0903020102020204" pitchFamily="34" charset="0"/>
            </a:endParaRP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BDBA9BD4-8F52-4454-B663-95ADB1BEFAB3}"/>
              </a:ext>
            </a:extLst>
          </p:cNvPr>
          <p:cNvSpPr>
            <a:spLocks/>
          </p:cNvSpPr>
          <p:nvPr userDrawn="1"/>
        </p:nvSpPr>
        <p:spPr bwMode="auto">
          <a:xfrm>
            <a:off x="8737601" y="5941368"/>
            <a:ext cx="3454400" cy="916633"/>
          </a:xfrm>
          <a:custGeom>
            <a:avLst/>
            <a:gdLst>
              <a:gd name="T0" fmla="*/ 2092 w 2942"/>
              <a:gd name="T1" fmla="*/ 184 h 765"/>
              <a:gd name="T2" fmla="*/ 2092 w 2942"/>
              <a:gd name="T3" fmla="*/ 184 h 765"/>
              <a:gd name="T4" fmla="*/ 2086 w 2942"/>
              <a:gd name="T5" fmla="*/ 168 h 765"/>
              <a:gd name="T6" fmla="*/ 2078 w 2942"/>
              <a:gd name="T7" fmla="*/ 152 h 765"/>
              <a:gd name="T8" fmla="*/ 2070 w 2942"/>
              <a:gd name="T9" fmla="*/ 140 h 765"/>
              <a:gd name="T10" fmla="*/ 2060 w 2942"/>
              <a:gd name="T11" fmla="*/ 130 h 765"/>
              <a:gd name="T12" fmla="*/ 2060 w 2942"/>
              <a:gd name="T13" fmla="*/ 130 h 765"/>
              <a:gd name="T14" fmla="*/ 2034 w 2942"/>
              <a:gd name="T15" fmla="*/ 138 h 765"/>
              <a:gd name="T16" fmla="*/ 2022 w 2942"/>
              <a:gd name="T17" fmla="*/ 144 h 765"/>
              <a:gd name="T18" fmla="*/ 2012 w 2942"/>
              <a:gd name="T19" fmla="*/ 150 h 765"/>
              <a:gd name="T20" fmla="*/ 2004 w 2942"/>
              <a:gd name="T21" fmla="*/ 158 h 765"/>
              <a:gd name="T22" fmla="*/ 1996 w 2942"/>
              <a:gd name="T23" fmla="*/ 166 h 765"/>
              <a:gd name="T24" fmla="*/ 1990 w 2942"/>
              <a:gd name="T25" fmla="*/ 176 h 765"/>
              <a:gd name="T26" fmla="*/ 1986 w 2942"/>
              <a:gd name="T27" fmla="*/ 186 h 765"/>
              <a:gd name="T28" fmla="*/ 1986 w 2942"/>
              <a:gd name="T29" fmla="*/ 186 h 765"/>
              <a:gd name="T30" fmla="*/ 1966 w 2942"/>
              <a:gd name="T31" fmla="*/ 166 h 765"/>
              <a:gd name="T32" fmla="*/ 1944 w 2942"/>
              <a:gd name="T33" fmla="*/ 148 h 765"/>
              <a:gd name="T34" fmla="*/ 1918 w 2942"/>
              <a:gd name="T35" fmla="*/ 134 h 765"/>
              <a:gd name="T36" fmla="*/ 1904 w 2942"/>
              <a:gd name="T37" fmla="*/ 128 h 765"/>
              <a:gd name="T38" fmla="*/ 1890 w 2942"/>
              <a:gd name="T39" fmla="*/ 124 h 765"/>
              <a:gd name="T40" fmla="*/ 1890 w 2942"/>
              <a:gd name="T41" fmla="*/ 124 h 765"/>
              <a:gd name="T42" fmla="*/ 1870 w 2942"/>
              <a:gd name="T43" fmla="*/ 120 h 765"/>
              <a:gd name="T44" fmla="*/ 1852 w 2942"/>
              <a:gd name="T45" fmla="*/ 116 h 765"/>
              <a:gd name="T46" fmla="*/ 1834 w 2942"/>
              <a:gd name="T47" fmla="*/ 114 h 765"/>
              <a:gd name="T48" fmla="*/ 1816 w 2942"/>
              <a:gd name="T49" fmla="*/ 114 h 765"/>
              <a:gd name="T50" fmla="*/ 1798 w 2942"/>
              <a:gd name="T51" fmla="*/ 116 h 765"/>
              <a:gd name="T52" fmla="*/ 1782 w 2942"/>
              <a:gd name="T53" fmla="*/ 118 h 765"/>
              <a:gd name="T54" fmla="*/ 1766 w 2942"/>
              <a:gd name="T55" fmla="*/ 122 h 765"/>
              <a:gd name="T56" fmla="*/ 1750 w 2942"/>
              <a:gd name="T57" fmla="*/ 126 h 765"/>
              <a:gd name="T58" fmla="*/ 1734 w 2942"/>
              <a:gd name="T59" fmla="*/ 132 h 765"/>
              <a:gd name="T60" fmla="*/ 1720 w 2942"/>
              <a:gd name="T61" fmla="*/ 138 h 765"/>
              <a:gd name="T62" fmla="*/ 1694 w 2942"/>
              <a:gd name="T63" fmla="*/ 154 h 765"/>
              <a:gd name="T64" fmla="*/ 1672 w 2942"/>
              <a:gd name="T65" fmla="*/ 174 h 765"/>
              <a:gd name="T66" fmla="*/ 1652 w 2942"/>
              <a:gd name="T67" fmla="*/ 196 h 765"/>
              <a:gd name="T68" fmla="*/ 1652 w 2942"/>
              <a:gd name="T69" fmla="*/ 196 h 765"/>
              <a:gd name="T70" fmla="*/ 1656 w 2942"/>
              <a:gd name="T71" fmla="*/ 202 h 765"/>
              <a:gd name="T72" fmla="*/ 1666 w 2942"/>
              <a:gd name="T73" fmla="*/ 212 h 765"/>
              <a:gd name="T74" fmla="*/ 1674 w 2942"/>
              <a:gd name="T75" fmla="*/ 220 h 765"/>
              <a:gd name="T76" fmla="*/ 1684 w 2942"/>
              <a:gd name="T77" fmla="*/ 226 h 765"/>
              <a:gd name="T78" fmla="*/ 1696 w 2942"/>
              <a:gd name="T79" fmla="*/ 234 h 765"/>
              <a:gd name="T80" fmla="*/ 1710 w 2942"/>
              <a:gd name="T81" fmla="*/ 240 h 765"/>
              <a:gd name="T82" fmla="*/ 1710 w 2942"/>
              <a:gd name="T83" fmla="*/ 240 h 765"/>
              <a:gd name="T84" fmla="*/ 1700 w 2942"/>
              <a:gd name="T85" fmla="*/ 250 h 765"/>
              <a:gd name="T86" fmla="*/ 1692 w 2942"/>
              <a:gd name="T87" fmla="*/ 264 h 765"/>
              <a:gd name="T88" fmla="*/ 1684 w 2942"/>
              <a:gd name="T89" fmla="*/ 276 h 765"/>
              <a:gd name="T90" fmla="*/ 1678 w 2942"/>
              <a:gd name="T91" fmla="*/ 290 h 765"/>
              <a:gd name="T92" fmla="*/ 1678 w 2942"/>
              <a:gd name="T93" fmla="*/ 290 h 765"/>
              <a:gd name="T94" fmla="*/ 1334 w 2942"/>
              <a:gd name="T95" fmla="*/ 383 h 765"/>
              <a:gd name="T96" fmla="*/ 942 w 2942"/>
              <a:gd name="T97" fmla="*/ 491 h 765"/>
              <a:gd name="T98" fmla="*/ 498 w 2942"/>
              <a:gd name="T99" fmla="*/ 619 h 765"/>
              <a:gd name="T100" fmla="*/ 0 w 2942"/>
              <a:gd name="T101" fmla="*/ 765 h 765"/>
              <a:gd name="T102" fmla="*/ 2942 w 2942"/>
              <a:gd name="T103" fmla="*/ 765 h 765"/>
              <a:gd name="T104" fmla="*/ 2942 w 2942"/>
              <a:gd name="T105" fmla="*/ 0 h 765"/>
              <a:gd name="T106" fmla="*/ 2942 w 2942"/>
              <a:gd name="T107" fmla="*/ 0 h 765"/>
              <a:gd name="T108" fmla="*/ 2898 w 2942"/>
              <a:gd name="T109" fmla="*/ 8 h 765"/>
              <a:gd name="T110" fmla="*/ 2838 w 2942"/>
              <a:gd name="T111" fmla="*/ 18 h 765"/>
              <a:gd name="T112" fmla="*/ 2750 w 2942"/>
              <a:gd name="T113" fmla="*/ 34 h 765"/>
              <a:gd name="T114" fmla="*/ 2634 w 2942"/>
              <a:gd name="T115" fmla="*/ 58 h 765"/>
              <a:gd name="T116" fmla="*/ 2488 w 2942"/>
              <a:gd name="T117" fmla="*/ 90 h 765"/>
              <a:gd name="T118" fmla="*/ 2308 w 2942"/>
              <a:gd name="T119" fmla="*/ 132 h 765"/>
              <a:gd name="T120" fmla="*/ 2092 w 2942"/>
              <a:gd name="T121" fmla="*/ 184 h 765"/>
              <a:gd name="T122" fmla="*/ 2092 w 2942"/>
              <a:gd name="T123" fmla="*/ 184 h 7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942" h="765">
                <a:moveTo>
                  <a:pt x="2092" y="184"/>
                </a:moveTo>
                <a:lnTo>
                  <a:pt x="2092" y="184"/>
                </a:lnTo>
                <a:lnTo>
                  <a:pt x="2086" y="168"/>
                </a:lnTo>
                <a:lnTo>
                  <a:pt x="2078" y="152"/>
                </a:lnTo>
                <a:lnTo>
                  <a:pt x="2070" y="140"/>
                </a:lnTo>
                <a:lnTo>
                  <a:pt x="2060" y="130"/>
                </a:lnTo>
                <a:lnTo>
                  <a:pt x="2060" y="130"/>
                </a:lnTo>
                <a:lnTo>
                  <a:pt x="2034" y="138"/>
                </a:lnTo>
                <a:lnTo>
                  <a:pt x="2022" y="144"/>
                </a:lnTo>
                <a:lnTo>
                  <a:pt x="2012" y="150"/>
                </a:lnTo>
                <a:lnTo>
                  <a:pt x="2004" y="158"/>
                </a:lnTo>
                <a:lnTo>
                  <a:pt x="1996" y="166"/>
                </a:lnTo>
                <a:lnTo>
                  <a:pt x="1990" y="176"/>
                </a:lnTo>
                <a:lnTo>
                  <a:pt x="1986" y="186"/>
                </a:lnTo>
                <a:lnTo>
                  <a:pt x="1986" y="186"/>
                </a:lnTo>
                <a:lnTo>
                  <a:pt x="1966" y="166"/>
                </a:lnTo>
                <a:lnTo>
                  <a:pt x="1944" y="148"/>
                </a:lnTo>
                <a:lnTo>
                  <a:pt x="1918" y="134"/>
                </a:lnTo>
                <a:lnTo>
                  <a:pt x="1904" y="128"/>
                </a:lnTo>
                <a:lnTo>
                  <a:pt x="1890" y="124"/>
                </a:lnTo>
                <a:lnTo>
                  <a:pt x="1890" y="124"/>
                </a:lnTo>
                <a:lnTo>
                  <a:pt x="1870" y="120"/>
                </a:lnTo>
                <a:lnTo>
                  <a:pt x="1852" y="116"/>
                </a:lnTo>
                <a:lnTo>
                  <a:pt x="1834" y="114"/>
                </a:lnTo>
                <a:lnTo>
                  <a:pt x="1816" y="114"/>
                </a:lnTo>
                <a:lnTo>
                  <a:pt x="1798" y="116"/>
                </a:lnTo>
                <a:lnTo>
                  <a:pt x="1782" y="118"/>
                </a:lnTo>
                <a:lnTo>
                  <a:pt x="1766" y="122"/>
                </a:lnTo>
                <a:lnTo>
                  <a:pt x="1750" y="126"/>
                </a:lnTo>
                <a:lnTo>
                  <a:pt x="1734" y="132"/>
                </a:lnTo>
                <a:lnTo>
                  <a:pt x="1720" y="138"/>
                </a:lnTo>
                <a:lnTo>
                  <a:pt x="1694" y="154"/>
                </a:lnTo>
                <a:lnTo>
                  <a:pt x="1672" y="174"/>
                </a:lnTo>
                <a:lnTo>
                  <a:pt x="1652" y="196"/>
                </a:lnTo>
                <a:lnTo>
                  <a:pt x="1652" y="196"/>
                </a:lnTo>
                <a:lnTo>
                  <a:pt x="1656" y="202"/>
                </a:lnTo>
                <a:lnTo>
                  <a:pt x="1666" y="212"/>
                </a:lnTo>
                <a:lnTo>
                  <a:pt x="1674" y="220"/>
                </a:lnTo>
                <a:lnTo>
                  <a:pt x="1684" y="226"/>
                </a:lnTo>
                <a:lnTo>
                  <a:pt x="1696" y="234"/>
                </a:lnTo>
                <a:lnTo>
                  <a:pt x="1710" y="240"/>
                </a:lnTo>
                <a:lnTo>
                  <a:pt x="1710" y="240"/>
                </a:lnTo>
                <a:lnTo>
                  <a:pt x="1700" y="250"/>
                </a:lnTo>
                <a:lnTo>
                  <a:pt x="1692" y="264"/>
                </a:lnTo>
                <a:lnTo>
                  <a:pt x="1684" y="276"/>
                </a:lnTo>
                <a:lnTo>
                  <a:pt x="1678" y="290"/>
                </a:lnTo>
                <a:lnTo>
                  <a:pt x="1678" y="290"/>
                </a:lnTo>
                <a:lnTo>
                  <a:pt x="1334" y="383"/>
                </a:lnTo>
                <a:lnTo>
                  <a:pt x="942" y="491"/>
                </a:lnTo>
                <a:lnTo>
                  <a:pt x="498" y="619"/>
                </a:lnTo>
                <a:lnTo>
                  <a:pt x="0" y="765"/>
                </a:lnTo>
                <a:lnTo>
                  <a:pt x="2942" y="765"/>
                </a:lnTo>
                <a:lnTo>
                  <a:pt x="2942" y="0"/>
                </a:lnTo>
                <a:lnTo>
                  <a:pt x="2942" y="0"/>
                </a:lnTo>
                <a:lnTo>
                  <a:pt x="2898" y="8"/>
                </a:lnTo>
                <a:lnTo>
                  <a:pt x="2838" y="18"/>
                </a:lnTo>
                <a:lnTo>
                  <a:pt x="2750" y="34"/>
                </a:lnTo>
                <a:lnTo>
                  <a:pt x="2634" y="58"/>
                </a:lnTo>
                <a:lnTo>
                  <a:pt x="2488" y="90"/>
                </a:lnTo>
                <a:lnTo>
                  <a:pt x="2308" y="132"/>
                </a:lnTo>
                <a:lnTo>
                  <a:pt x="2092" y="184"/>
                </a:lnTo>
                <a:lnTo>
                  <a:pt x="2092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07" tIns="60904" rIns="121807" bIns="60904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sz="2398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8782D05C-ACC2-44EC-BEA3-0CBB47CA1F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2"/>
            <a:ext cx="12192000" cy="6858003"/>
          </a:xfrm>
          <a:prstGeom prst="rect">
            <a:avLst/>
          </a:prstGeom>
        </p:spPr>
      </p:pic>
      <p:sp>
        <p:nvSpPr>
          <p:cNvPr id="15" name="Freeform 5">
            <a:extLst>
              <a:ext uri="{FF2B5EF4-FFF2-40B4-BE49-F238E27FC236}">
                <a16:creationId xmlns:a16="http://schemas.microsoft.com/office/drawing/2014/main" id="{D83824A8-36DC-430A-A0C9-3184DA3F50AE}"/>
              </a:ext>
            </a:extLst>
          </p:cNvPr>
          <p:cNvSpPr>
            <a:spLocks/>
          </p:cNvSpPr>
          <p:nvPr userDrawn="1"/>
        </p:nvSpPr>
        <p:spPr bwMode="auto">
          <a:xfrm>
            <a:off x="8737601" y="5941368"/>
            <a:ext cx="3454400" cy="916633"/>
          </a:xfrm>
          <a:custGeom>
            <a:avLst/>
            <a:gdLst>
              <a:gd name="T0" fmla="*/ 2092 w 2942"/>
              <a:gd name="T1" fmla="*/ 184 h 765"/>
              <a:gd name="T2" fmla="*/ 2092 w 2942"/>
              <a:gd name="T3" fmla="*/ 184 h 765"/>
              <a:gd name="T4" fmla="*/ 2086 w 2942"/>
              <a:gd name="T5" fmla="*/ 168 h 765"/>
              <a:gd name="T6" fmla="*/ 2078 w 2942"/>
              <a:gd name="T7" fmla="*/ 152 h 765"/>
              <a:gd name="T8" fmla="*/ 2070 w 2942"/>
              <a:gd name="T9" fmla="*/ 140 h 765"/>
              <a:gd name="T10" fmla="*/ 2060 w 2942"/>
              <a:gd name="T11" fmla="*/ 130 h 765"/>
              <a:gd name="T12" fmla="*/ 2060 w 2942"/>
              <a:gd name="T13" fmla="*/ 130 h 765"/>
              <a:gd name="T14" fmla="*/ 2034 w 2942"/>
              <a:gd name="T15" fmla="*/ 138 h 765"/>
              <a:gd name="T16" fmla="*/ 2022 w 2942"/>
              <a:gd name="T17" fmla="*/ 144 h 765"/>
              <a:gd name="T18" fmla="*/ 2012 w 2942"/>
              <a:gd name="T19" fmla="*/ 150 h 765"/>
              <a:gd name="T20" fmla="*/ 2004 w 2942"/>
              <a:gd name="T21" fmla="*/ 158 h 765"/>
              <a:gd name="T22" fmla="*/ 1996 w 2942"/>
              <a:gd name="T23" fmla="*/ 166 h 765"/>
              <a:gd name="T24" fmla="*/ 1990 w 2942"/>
              <a:gd name="T25" fmla="*/ 176 h 765"/>
              <a:gd name="T26" fmla="*/ 1986 w 2942"/>
              <a:gd name="T27" fmla="*/ 186 h 765"/>
              <a:gd name="T28" fmla="*/ 1986 w 2942"/>
              <a:gd name="T29" fmla="*/ 186 h 765"/>
              <a:gd name="T30" fmla="*/ 1966 w 2942"/>
              <a:gd name="T31" fmla="*/ 166 h 765"/>
              <a:gd name="T32" fmla="*/ 1944 w 2942"/>
              <a:gd name="T33" fmla="*/ 148 h 765"/>
              <a:gd name="T34" fmla="*/ 1918 w 2942"/>
              <a:gd name="T35" fmla="*/ 134 h 765"/>
              <a:gd name="T36" fmla="*/ 1904 w 2942"/>
              <a:gd name="T37" fmla="*/ 128 h 765"/>
              <a:gd name="T38" fmla="*/ 1890 w 2942"/>
              <a:gd name="T39" fmla="*/ 124 h 765"/>
              <a:gd name="T40" fmla="*/ 1890 w 2942"/>
              <a:gd name="T41" fmla="*/ 124 h 765"/>
              <a:gd name="T42" fmla="*/ 1870 w 2942"/>
              <a:gd name="T43" fmla="*/ 120 h 765"/>
              <a:gd name="T44" fmla="*/ 1852 w 2942"/>
              <a:gd name="T45" fmla="*/ 116 h 765"/>
              <a:gd name="T46" fmla="*/ 1834 w 2942"/>
              <a:gd name="T47" fmla="*/ 114 h 765"/>
              <a:gd name="T48" fmla="*/ 1816 w 2942"/>
              <a:gd name="T49" fmla="*/ 114 h 765"/>
              <a:gd name="T50" fmla="*/ 1798 w 2942"/>
              <a:gd name="T51" fmla="*/ 116 h 765"/>
              <a:gd name="T52" fmla="*/ 1782 w 2942"/>
              <a:gd name="T53" fmla="*/ 118 h 765"/>
              <a:gd name="T54" fmla="*/ 1766 w 2942"/>
              <a:gd name="T55" fmla="*/ 122 h 765"/>
              <a:gd name="T56" fmla="*/ 1750 w 2942"/>
              <a:gd name="T57" fmla="*/ 126 h 765"/>
              <a:gd name="T58" fmla="*/ 1734 w 2942"/>
              <a:gd name="T59" fmla="*/ 132 h 765"/>
              <a:gd name="T60" fmla="*/ 1720 w 2942"/>
              <a:gd name="T61" fmla="*/ 138 h 765"/>
              <a:gd name="T62" fmla="*/ 1694 w 2942"/>
              <a:gd name="T63" fmla="*/ 154 h 765"/>
              <a:gd name="T64" fmla="*/ 1672 w 2942"/>
              <a:gd name="T65" fmla="*/ 174 h 765"/>
              <a:gd name="T66" fmla="*/ 1652 w 2942"/>
              <a:gd name="T67" fmla="*/ 196 h 765"/>
              <a:gd name="T68" fmla="*/ 1652 w 2942"/>
              <a:gd name="T69" fmla="*/ 196 h 765"/>
              <a:gd name="T70" fmla="*/ 1656 w 2942"/>
              <a:gd name="T71" fmla="*/ 202 h 765"/>
              <a:gd name="T72" fmla="*/ 1666 w 2942"/>
              <a:gd name="T73" fmla="*/ 212 h 765"/>
              <a:gd name="T74" fmla="*/ 1674 w 2942"/>
              <a:gd name="T75" fmla="*/ 220 h 765"/>
              <a:gd name="T76" fmla="*/ 1684 w 2942"/>
              <a:gd name="T77" fmla="*/ 226 h 765"/>
              <a:gd name="T78" fmla="*/ 1696 w 2942"/>
              <a:gd name="T79" fmla="*/ 234 h 765"/>
              <a:gd name="T80" fmla="*/ 1710 w 2942"/>
              <a:gd name="T81" fmla="*/ 240 h 765"/>
              <a:gd name="T82" fmla="*/ 1710 w 2942"/>
              <a:gd name="T83" fmla="*/ 240 h 765"/>
              <a:gd name="T84" fmla="*/ 1700 w 2942"/>
              <a:gd name="T85" fmla="*/ 250 h 765"/>
              <a:gd name="T86" fmla="*/ 1692 w 2942"/>
              <a:gd name="T87" fmla="*/ 264 h 765"/>
              <a:gd name="T88" fmla="*/ 1684 w 2942"/>
              <a:gd name="T89" fmla="*/ 276 h 765"/>
              <a:gd name="T90" fmla="*/ 1678 w 2942"/>
              <a:gd name="T91" fmla="*/ 290 h 765"/>
              <a:gd name="T92" fmla="*/ 1678 w 2942"/>
              <a:gd name="T93" fmla="*/ 290 h 765"/>
              <a:gd name="T94" fmla="*/ 1334 w 2942"/>
              <a:gd name="T95" fmla="*/ 383 h 765"/>
              <a:gd name="T96" fmla="*/ 942 w 2942"/>
              <a:gd name="T97" fmla="*/ 491 h 765"/>
              <a:gd name="T98" fmla="*/ 498 w 2942"/>
              <a:gd name="T99" fmla="*/ 619 h 765"/>
              <a:gd name="T100" fmla="*/ 0 w 2942"/>
              <a:gd name="T101" fmla="*/ 765 h 765"/>
              <a:gd name="T102" fmla="*/ 2942 w 2942"/>
              <a:gd name="T103" fmla="*/ 765 h 765"/>
              <a:gd name="T104" fmla="*/ 2942 w 2942"/>
              <a:gd name="T105" fmla="*/ 0 h 765"/>
              <a:gd name="T106" fmla="*/ 2942 w 2942"/>
              <a:gd name="T107" fmla="*/ 0 h 765"/>
              <a:gd name="T108" fmla="*/ 2898 w 2942"/>
              <a:gd name="T109" fmla="*/ 8 h 765"/>
              <a:gd name="T110" fmla="*/ 2838 w 2942"/>
              <a:gd name="T111" fmla="*/ 18 h 765"/>
              <a:gd name="T112" fmla="*/ 2750 w 2942"/>
              <a:gd name="T113" fmla="*/ 34 h 765"/>
              <a:gd name="T114" fmla="*/ 2634 w 2942"/>
              <a:gd name="T115" fmla="*/ 58 h 765"/>
              <a:gd name="T116" fmla="*/ 2488 w 2942"/>
              <a:gd name="T117" fmla="*/ 90 h 765"/>
              <a:gd name="T118" fmla="*/ 2308 w 2942"/>
              <a:gd name="T119" fmla="*/ 132 h 765"/>
              <a:gd name="T120" fmla="*/ 2092 w 2942"/>
              <a:gd name="T121" fmla="*/ 184 h 765"/>
              <a:gd name="T122" fmla="*/ 2092 w 2942"/>
              <a:gd name="T123" fmla="*/ 184 h 7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2942" h="765">
                <a:moveTo>
                  <a:pt x="2092" y="184"/>
                </a:moveTo>
                <a:lnTo>
                  <a:pt x="2092" y="184"/>
                </a:lnTo>
                <a:lnTo>
                  <a:pt x="2086" y="168"/>
                </a:lnTo>
                <a:lnTo>
                  <a:pt x="2078" y="152"/>
                </a:lnTo>
                <a:lnTo>
                  <a:pt x="2070" y="140"/>
                </a:lnTo>
                <a:lnTo>
                  <a:pt x="2060" y="130"/>
                </a:lnTo>
                <a:lnTo>
                  <a:pt x="2060" y="130"/>
                </a:lnTo>
                <a:lnTo>
                  <a:pt x="2034" y="138"/>
                </a:lnTo>
                <a:lnTo>
                  <a:pt x="2022" y="144"/>
                </a:lnTo>
                <a:lnTo>
                  <a:pt x="2012" y="150"/>
                </a:lnTo>
                <a:lnTo>
                  <a:pt x="2004" y="158"/>
                </a:lnTo>
                <a:lnTo>
                  <a:pt x="1996" y="166"/>
                </a:lnTo>
                <a:lnTo>
                  <a:pt x="1990" y="176"/>
                </a:lnTo>
                <a:lnTo>
                  <a:pt x="1986" y="186"/>
                </a:lnTo>
                <a:lnTo>
                  <a:pt x="1986" y="186"/>
                </a:lnTo>
                <a:lnTo>
                  <a:pt x="1966" y="166"/>
                </a:lnTo>
                <a:lnTo>
                  <a:pt x="1944" y="148"/>
                </a:lnTo>
                <a:lnTo>
                  <a:pt x="1918" y="134"/>
                </a:lnTo>
                <a:lnTo>
                  <a:pt x="1904" y="128"/>
                </a:lnTo>
                <a:lnTo>
                  <a:pt x="1890" y="124"/>
                </a:lnTo>
                <a:lnTo>
                  <a:pt x="1890" y="124"/>
                </a:lnTo>
                <a:lnTo>
                  <a:pt x="1870" y="120"/>
                </a:lnTo>
                <a:lnTo>
                  <a:pt x="1852" y="116"/>
                </a:lnTo>
                <a:lnTo>
                  <a:pt x="1834" y="114"/>
                </a:lnTo>
                <a:lnTo>
                  <a:pt x="1816" y="114"/>
                </a:lnTo>
                <a:lnTo>
                  <a:pt x="1798" y="116"/>
                </a:lnTo>
                <a:lnTo>
                  <a:pt x="1782" y="118"/>
                </a:lnTo>
                <a:lnTo>
                  <a:pt x="1766" y="122"/>
                </a:lnTo>
                <a:lnTo>
                  <a:pt x="1750" y="126"/>
                </a:lnTo>
                <a:lnTo>
                  <a:pt x="1734" y="132"/>
                </a:lnTo>
                <a:lnTo>
                  <a:pt x="1720" y="138"/>
                </a:lnTo>
                <a:lnTo>
                  <a:pt x="1694" y="154"/>
                </a:lnTo>
                <a:lnTo>
                  <a:pt x="1672" y="174"/>
                </a:lnTo>
                <a:lnTo>
                  <a:pt x="1652" y="196"/>
                </a:lnTo>
                <a:lnTo>
                  <a:pt x="1652" y="196"/>
                </a:lnTo>
                <a:lnTo>
                  <a:pt x="1656" y="202"/>
                </a:lnTo>
                <a:lnTo>
                  <a:pt x="1666" y="212"/>
                </a:lnTo>
                <a:lnTo>
                  <a:pt x="1674" y="220"/>
                </a:lnTo>
                <a:lnTo>
                  <a:pt x="1684" y="226"/>
                </a:lnTo>
                <a:lnTo>
                  <a:pt x="1696" y="234"/>
                </a:lnTo>
                <a:lnTo>
                  <a:pt x="1710" y="240"/>
                </a:lnTo>
                <a:lnTo>
                  <a:pt x="1710" y="240"/>
                </a:lnTo>
                <a:lnTo>
                  <a:pt x="1700" y="250"/>
                </a:lnTo>
                <a:lnTo>
                  <a:pt x="1692" y="264"/>
                </a:lnTo>
                <a:lnTo>
                  <a:pt x="1684" y="276"/>
                </a:lnTo>
                <a:lnTo>
                  <a:pt x="1678" y="290"/>
                </a:lnTo>
                <a:lnTo>
                  <a:pt x="1678" y="290"/>
                </a:lnTo>
                <a:lnTo>
                  <a:pt x="1334" y="383"/>
                </a:lnTo>
                <a:lnTo>
                  <a:pt x="942" y="491"/>
                </a:lnTo>
                <a:lnTo>
                  <a:pt x="498" y="619"/>
                </a:lnTo>
                <a:lnTo>
                  <a:pt x="0" y="765"/>
                </a:lnTo>
                <a:lnTo>
                  <a:pt x="2942" y="765"/>
                </a:lnTo>
                <a:lnTo>
                  <a:pt x="2942" y="0"/>
                </a:lnTo>
                <a:lnTo>
                  <a:pt x="2942" y="0"/>
                </a:lnTo>
                <a:lnTo>
                  <a:pt x="2898" y="8"/>
                </a:lnTo>
                <a:lnTo>
                  <a:pt x="2838" y="18"/>
                </a:lnTo>
                <a:lnTo>
                  <a:pt x="2750" y="34"/>
                </a:lnTo>
                <a:lnTo>
                  <a:pt x="2634" y="58"/>
                </a:lnTo>
                <a:lnTo>
                  <a:pt x="2488" y="90"/>
                </a:lnTo>
                <a:lnTo>
                  <a:pt x="2308" y="132"/>
                </a:lnTo>
                <a:lnTo>
                  <a:pt x="2092" y="184"/>
                </a:lnTo>
                <a:lnTo>
                  <a:pt x="2092" y="184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21807" tIns="60904" rIns="121807" bIns="60904" numCol="1" anchor="t" anchorCtr="0" compatLnSpc="1">
            <a:prstTxWarp prst="textNoShape">
              <a:avLst/>
            </a:prstTxWarp>
          </a:bodyPr>
          <a:lstStyle/>
          <a:p>
            <a:pPr eaLnBrk="1"/>
            <a:endParaRPr lang="en-US" sz="2398"/>
          </a:p>
        </p:txBody>
      </p:sp>
      <p:pic>
        <p:nvPicPr>
          <p:cNvPr id="17" name="Afbeelding 6">
            <a:extLst>
              <a:ext uri="{FF2B5EF4-FFF2-40B4-BE49-F238E27FC236}">
                <a16:creationId xmlns:a16="http://schemas.microsoft.com/office/drawing/2014/main" id="{CADBB649-5E50-43CE-84DD-BE45DFF3455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4217" y="5775214"/>
            <a:ext cx="3887784" cy="1082788"/>
          </a:xfrm>
          <a:prstGeom prst="rect">
            <a:avLst/>
          </a:prstGeom>
        </p:spPr>
      </p:pic>
      <p:sp>
        <p:nvSpPr>
          <p:cNvPr id="8" name="Rectangle 2">
            <a:extLst>
              <a:ext uri="{FF2B5EF4-FFF2-40B4-BE49-F238E27FC236}">
                <a16:creationId xmlns:a16="http://schemas.microsoft.com/office/drawing/2014/main" id="{35B53571-8888-4BAF-B716-DC3BE31643B0}"/>
              </a:ext>
            </a:extLst>
          </p:cNvPr>
          <p:cNvSpPr>
            <a:spLocks noGrp="1" noChangeArrowheads="1"/>
          </p:cNvSpPr>
          <p:nvPr>
            <p:ph type="title" hasCustomPrompt="1"/>
            <p:custDataLst>
              <p:tags r:id="rId4"/>
            </p:custDataLst>
          </p:nvPr>
        </p:nvSpPr>
        <p:spPr bwMode="auto">
          <a:xfrm>
            <a:off x="757601" y="2015940"/>
            <a:ext cx="10672567" cy="8855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90000"/>
              </a:lnSpc>
              <a:defRPr sz="6394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</a:t>
            </a:r>
            <a:r>
              <a:rPr lang="en-US" altLang="nl-NL"/>
              <a:t>Add titl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87C28ADE-0CA6-47FC-A66C-6D7D953B7AF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57601" y="3179101"/>
            <a:ext cx="10672567" cy="409990"/>
          </a:xfrm>
        </p:spPr>
        <p:txBody>
          <a:bodyPr/>
          <a:lstStyle>
            <a:lvl1pPr marL="0" indent="0" eaLnBrk="1">
              <a:buNone/>
              <a:defRPr sz="2664" i="1" cap="all" baseline="0">
                <a:solidFill>
                  <a:schemeClr val="bg1"/>
                </a:solidFill>
                <a:latin typeface="Franklin Gothic Heavy" panose="020B0903020102020204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406936215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/ column / 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72C9C42-45C3-4E44-AA77-EA1F9994E7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01" name="think-cell Slide" r:id="rId5" imgW="485" imgH="500" progId="TCLayout.ActiveDocument.1">
                  <p:embed/>
                </p:oleObj>
              </mc:Choice>
              <mc:Fallback>
                <p:oleObj name="think-cell Slide" r:id="rId5" imgW="485" imgH="5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72C9C42-45C3-4E44-AA77-EA1F9994E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A3758E5-C531-4F38-A46A-D969FA176FB4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2" y="2"/>
            <a:ext cx="87" cy="36899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80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730" b="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Franklin Gothic Heavy" panose="020B0903020102020204" pitchFamily="34" charset="0"/>
              <a:ea typeface="+mj-ea"/>
              <a:cs typeface="+mj-cs"/>
              <a:sym typeface="Franklin Gothic Heavy" panose="020B0903020102020204" pitchFamily="34" charset="0"/>
            </a:endParaRP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758401" y="1638891"/>
            <a:ext cx="10684763" cy="1569660"/>
          </a:xfrm>
        </p:spPr>
        <p:txBody>
          <a:bodyPr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nl-NL"/>
              <a:t>Click to edit Master text styles</a:t>
            </a:r>
          </a:p>
          <a:p>
            <a:pPr lvl="1"/>
            <a:r>
              <a:rPr lang="en-US" altLang="nl-NL"/>
              <a:t>Second level</a:t>
            </a:r>
          </a:p>
          <a:p>
            <a:pPr lvl="2"/>
            <a:r>
              <a:rPr lang="en-US" altLang="nl-NL"/>
              <a:t>Third level</a:t>
            </a:r>
          </a:p>
          <a:p>
            <a:pPr lvl="3"/>
            <a:r>
              <a:rPr lang="en-US" altLang="nl-NL"/>
              <a:t>Fourth level</a:t>
            </a:r>
          </a:p>
          <a:p>
            <a:pPr lvl="4"/>
            <a:r>
              <a:rPr lang="en-US" altLang="nl-NL"/>
              <a:t>Fifth level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1"/>
          </p:nvPr>
        </p:nvSpPr>
        <p:spPr>
          <a:xfrm>
            <a:off x="468000" y="6339600"/>
            <a:ext cx="451163" cy="369332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altLang="nl-NL"/>
              <a:t>Page </a:t>
            </a:r>
            <a:fld id="{1819A7CB-B175-4DED-A0F5-C4E40DE17C1C}" type="slidenum">
              <a:rPr lang="en-US" altLang="nl-NL" smtClean="0"/>
              <a:pPr/>
              <a:t>‹#›</a:t>
            </a:fld>
            <a:endParaRPr lang="en-US" alt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5DD4D4-6DE0-485F-B8A2-B30325A05A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</a:t>
            </a:r>
            <a:r>
              <a:rPr lang="en-US" altLang="nl-NL"/>
              <a:t>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217263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/ column /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72C9C42-45C3-4E44-AA77-EA1F9994E7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25" name="think-cell Slide" r:id="rId5" imgW="485" imgH="500" progId="TCLayout.ActiveDocument.1">
                  <p:embed/>
                </p:oleObj>
              </mc:Choice>
              <mc:Fallback>
                <p:oleObj name="think-cell Slide" r:id="rId5" imgW="485" imgH="5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72C9C42-45C3-4E44-AA77-EA1F9994E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A3758E5-C531-4F38-A46A-D969FA176FB4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2" y="2"/>
            <a:ext cx="87" cy="36899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80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730" b="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Franklin Gothic Heavy" panose="020B0903020102020204" pitchFamily="34" charset="0"/>
              <a:ea typeface="+mj-ea"/>
              <a:cs typeface="+mj-cs"/>
              <a:sym typeface="Franklin Gothic Heavy" panose="020B0903020102020204" pitchFamily="34" charset="0"/>
            </a:endParaRP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758401" y="1638891"/>
            <a:ext cx="10684763" cy="1569660"/>
          </a:xfrm>
        </p:spPr>
        <p:txBody>
          <a:bodyPr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nl-NL"/>
              <a:t>Click to edit Master text styles</a:t>
            </a:r>
          </a:p>
          <a:p>
            <a:pPr lvl="1"/>
            <a:r>
              <a:rPr lang="en-US" altLang="nl-NL"/>
              <a:t>Second level</a:t>
            </a:r>
          </a:p>
          <a:p>
            <a:pPr lvl="2"/>
            <a:r>
              <a:rPr lang="en-US" altLang="nl-NL"/>
              <a:t>Third level</a:t>
            </a:r>
          </a:p>
          <a:p>
            <a:pPr lvl="3"/>
            <a:r>
              <a:rPr lang="en-US" altLang="nl-NL"/>
              <a:t>Fourth level</a:t>
            </a:r>
          </a:p>
          <a:p>
            <a:pPr lvl="4"/>
            <a:r>
              <a:rPr lang="en-US" altLang="nl-NL"/>
              <a:t>Fifth level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1"/>
          </p:nvPr>
        </p:nvSpPr>
        <p:spPr>
          <a:xfrm>
            <a:off x="468000" y="6339600"/>
            <a:ext cx="451163" cy="369332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altLang="nl-NL"/>
              <a:t>Page </a:t>
            </a:r>
            <a:fld id="{1819A7CB-B175-4DED-A0F5-C4E40DE17C1C}" type="slidenum">
              <a:rPr lang="en-US" altLang="nl-NL" smtClean="0"/>
              <a:pPr/>
              <a:t>‹#›</a:t>
            </a:fld>
            <a:endParaRPr lang="en-US" alt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5DD4D4-6DE0-485F-B8A2-B30325A05A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</a:t>
            </a:r>
            <a:r>
              <a:rPr lang="en-US" altLang="nl-NL"/>
              <a:t>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7394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2FD6BB10-1B0A-41F3-AE88-33FEAADB4A2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084D585-11D1-47E7-ACFF-3723CD19A1F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1103FEB-9D62-4D08-B64C-0454D47C0F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67ECC90-0626-4175-AB4A-A60610DEDF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2BE681B-B4FB-4189-9AAF-18227F5CAE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74222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 / column, add image /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80" name="Rectangle 8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7518" y="2"/>
          <a:ext cx="158749" cy="1586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49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3080" name="Rectangle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518" y="2"/>
                        <a:ext cx="158749" cy="15860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4BA64F-597F-4E64-A7FE-DE02B76130CA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2" y="2"/>
            <a:ext cx="87" cy="36899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80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394" b="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Franklin Gothic Heavy" panose="020B0903020102020204" pitchFamily="34" charset="0"/>
              <a:ea typeface="+mj-ea"/>
              <a:cs typeface="+mj-cs"/>
              <a:sym typeface="Franklin Gothic Heavy" panose="020B0903020102020204" pitchFamily="34" charset="0"/>
            </a:endParaRP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7B4C712-7F02-4D4C-A02C-3FC76260252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auto">
          <a:xfrm>
            <a:off x="6097059" y="0"/>
            <a:ext cx="6094942" cy="6857999"/>
          </a:xfrm>
          <a:custGeom>
            <a:avLst/>
            <a:gdLst>
              <a:gd name="connsiteX0" fmla="*/ 0 w 4575175"/>
              <a:gd name="connsiteY0" fmla="*/ 0 h 5148262"/>
              <a:gd name="connsiteX1" fmla="*/ 4575175 w 4575175"/>
              <a:gd name="connsiteY1" fmla="*/ 0 h 5148262"/>
              <a:gd name="connsiteX2" fmla="*/ 4575175 w 4575175"/>
              <a:gd name="connsiteY2" fmla="*/ 4460150 h 5148262"/>
              <a:gd name="connsiteX3" fmla="*/ 4536427 w 4575175"/>
              <a:gd name="connsiteY3" fmla="*/ 4467346 h 5148262"/>
              <a:gd name="connsiteX4" fmla="*/ 4483590 w 4575175"/>
              <a:gd name="connsiteY4" fmla="*/ 4476341 h 5148262"/>
              <a:gd name="connsiteX5" fmla="*/ 4406095 w 4575175"/>
              <a:gd name="connsiteY5" fmla="*/ 4490733 h 5148262"/>
              <a:gd name="connsiteX6" fmla="*/ 4303942 w 4575175"/>
              <a:gd name="connsiteY6" fmla="*/ 4512321 h 5148262"/>
              <a:gd name="connsiteX7" fmla="*/ 4175371 w 4575175"/>
              <a:gd name="connsiteY7" fmla="*/ 4541105 h 5148262"/>
              <a:gd name="connsiteX8" fmla="*/ 4016859 w 4575175"/>
              <a:gd name="connsiteY8" fmla="*/ 4578883 h 5148262"/>
              <a:gd name="connsiteX9" fmla="*/ 3826643 w 4575175"/>
              <a:gd name="connsiteY9" fmla="*/ 4625657 h 5148262"/>
              <a:gd name="connsiteX10" fmla="*/ 3821360 w 4575175"/>
              <a:gd name="connsiteY10" fmla="*/ 4611265 h 5148262"/>
              <a:gd name="connsiteX11" fmla="*/ 3814315 w 4575175"/>
              <a:gd name="connsiteY11" fmla="*/ 4596873 h 5148262"/>
              <a:gd name="connsiteX12" fmla="*/ 3807270 w 4575175"/>
              <a:gd name="connsiteY12" fmla="*/ 4586079 h 5148262"/>
              <a:gd name="connsiteX13" fmla="*/ 3798464 w 4575175"/>
              <a:gd name="connsiteY13" fmla="*/ 4577084 h 5148262"/>
              <a:gd name="connsiteX14" fmla="*/ 3775567 w 4575175"/>
              <a:gd name="connsiteY14" fmla="*/ 4584280 h 5148262"/>
              <a:gd name="connsiteX15" fmla="*/ 3765000 w 4575175"/>
              <a:gd name="connsiteY15" fmla="*/ 4589677 h 5148262"/>
              <a:gd name="connsiteX16" fmla="*/ 3756194 w 4575175"/>
              <a:gd name="connsiteY16" fmla="*/ 4595074 h 5148262"/>
              <a:gd name="connsiteX17" fmla="*/ 3749149 w 4575175"/>
              <a:gd name="connsiteY17" fmla="*/ 4602270 h 5148262"/>
              <a:gd name="connsiteX18" fmla="*/ 3742104 w 4575175"/>
              <a:gd name="connsiteY18" fmla="*/ 4609466 h 5148262"/>
              <a:gd name="connsiteX19" fmla="*/ 3736820 w 4575175"/>
              <a:gd name="connsiteY19" fmla="*/ 4618461 h 5148262"/>
              <a:gd name="connsiteX20" fmla="*/ 3733297 w 4575175"/>
              <a:gd name="connsiteY20" fmla="*/ 4627456 h 5148262"/>
              <a:gd name="connsiteX21" fmla="*/ 3715685 w 4575175"/>
              <a:gd name="connsiteY21" fmla="*/ 4609466 h 5148262"/>
              <a:gd name="connsiteX22" fmla="*/ 3696311 w 4575175"/>
              <a:gd name="connsiteY22" fmla="*/ 4593275 h 5148262"/>
              <a:gd name="connsiteX23" fmla="*/ 3673415 w 4575175"/>
              <a:gd name="connsiteY23" fmla="*/ 4580682 h 5148262"/>
              <a:gd name="connsiteX24" fmla="*/ 3661086 w 4575175"/>
              <a:gd name="connsiteY24" fmla="*/ 4575285 h 5148262"/>
              <a:gd name="connsiteX25" fmla="*/ 3648757 w 4575175"/>
              <a:gd name="connsiteY25" fmla="*/ 4571687 h 5148262"/>
              <a:gd name="connsiteX26" fmla="*/ 3631145 w 4575175"/>
              <a:gd name="connsiteY26" fmla="*/ 4568089 h 5148262"/>
              <a:gd name="connsiteX27" fmla="*/ 3615293 w 4575175"/>
              <a:gd name="connsiteY27" fmla="*/ 4564491 h 5148262"/>
              <a:gd name="connsiteX28" fmla="*/ 3599442 w 4575175"/>
              <a:gd name="connsiteY28" fmla="*/ 4562692 h 5148262"/>
              <a:gd name="connsiteX29" fmla="*/ 3583591 w 4575175"/>
              <a:gd name="connsiteY29" fmla="*/ 4562692 h 5148262"/>
              <a:gd name="connsiteX30" fmla="*/ 3567740 w 4575175"/>
              <a:gd name="connsiteY30" fmla="*/ 4564491 h 5148262"/>
              <a:gd name="connsiteX31" fmla="*/ 3553650 w 4575175"/>
              <a:gd name="connsiteY31" fmla="*/ 4566290 h 5148262"/>
              <a:gd name="connsiteX32" fmla="*/ 3539560 w 4575175"/>
              <a:gd name="connsiteY32" fmla="*/ 4569888 h 5148262"/>
              <a:gd name="connsiteX33" fmla="*/ 3525470 w 4575175"/>
              <a:gd name="connsiteY33" fmla="*/ 4573486 h 5148262"/>
              <a:gd name="connsiteX34" fmla="*/ 3511380 w 4575175"/>
              <a:gd name="connsiteY34" fmla="*/ 4578883 h 5148262"/>
              <a:gd name="connsiteX35" fmla="*/ 3499051 w 4575175"/>
              <a:gd name="connsiteY35" fmla="*/ 4584280 h 5148262"/>
              <a:gd name="connsiteX36" fmla="*/ 3476155 w 4575175"/>
              <a:gd name="connsiteY36" fmla="*/ 4598672 h 5148262"/>
              <a:gd name="connsiteX37" fmla="*/ 3456781 w 4575175"/>
              <a:gd name="connsiteY37" fmla="*/ 4616662 h 5148262"/>
              <a:gd name="connsiteX38" fmla="*/ 3439168 w 4575175"/>
              <a:gd name="connsiteY38" fmla="*/ 4636451 h 5148262"/>
              <a:gd name="connsiteX39" fmla="*/ 3442691 w 4575175"/>
              <a:gd name="connsiteY39" fmla="*/ 4641848 h 5148262"/>
              <a:gd name="connsiteX40" fmla="*/ 3451497 w 4575175"/>
              <a:gd name="connsiteY40" fmla="*/ 4650843 h 5148262"/>
              <a:gd name="connsiteX41" fmla="*/ 3458542 w 4575175"/>
              <a:gd name="connsiteY41" fmla="*/ 4658039 h 5148262"/>
              <a:gd name="connsiteX42" fmla="*/ 3467348 w 4575175"/>
              <a:gd name="connsiteY42" fmla="*/ 4663436 h 5148262"/>
              <a:gd name="connsiteX43" fmla="*/ 3477916 w 4575175"/>
              <a:gd name="connsiteY43" fmla="*/ 4670632 h 5148262"/>
              <a:gd name="connsiteX44" fmla="*/ 3490245 w 4575175"/>
              <a:gd name="connsiteY44" fmla="*/ 4676029 h 5148262"/>
              <a:gd name="connsiteX45" fmla="*/ 3481438 w 4575175"/>
              <a:gd name="connsiteY45" fmla="*/ 4685023 h 5148262"/>
              <a:gd name="connsiteX46" fmla="*/ 3474393 w 4575175"/>
              <a:gd name="connsiteY46" fmla="*/ 4697616 h 5148262"/>
              <a:gd name="connsiteX47" fmla="*/ 3467348 w 4575175"/>
              <a:gd name="connsiteY47" fmla="*/ 4708410 h 5148262"/>
              <a:gd name="connsiteX48" fmla="*/ 3462065 w 4575175"/>
              <a:gd name="connsiteY48" fmla="*/ 4721003 h 5148262"/>
              <a:gd name="connsiteX49" fmla="*/ 3159130 w 4575175"/>
              <a:gd name="connsiteY49" fmla="*/ 4804656 h 5148262"/>
              <a:gd name="connsiteX50" fmla="*/ 2813924 w 4575175"/>
              <a:gd name="connsiteY50" fmla="*/ 4901801 h 5148262"/>
              <a:gd name="connsiteX51" fmla="*/ 2422927 w 4575175"/>
              <a:gd name="connsiteY51" fmla="*/ 5016936 h 5148262"/>
              <a:gd name="connsiteX52" fmla="*/ 1984375 w 4575175"/>
              <a:gd name="connsiteY52" fmla="*/ 5148262 h 5148262"/>
              <a:gd name="connsiteX53" fmla="*/ 0 w 4575175"/>
              <a:gd name="connsiteY53" fmla="*/ 5148262 h 5148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2">
                <a:moveTo>
                  <a:pt x="0" y="0"/>
                </a:moveTo>
                <a:lnTo>
                  <a:pt x="4575175" y="0"/>
                </a:lnTo>
                <a:lnTo>
                  <a:pt x="4575175" y="4460150"/>
                </a:lnTo>
                <a:lnTo>
                  <a:pt x="4536427" y="4467346"/>
                </a:lnTo>
                <a:lnTo>
                  <a:pt x="4483590" y="4476341"/>
                </a:lnTo>
                <a:lnTo>
                  <a:pt x="4406095" y="4490733"/>
                </a:lnTo>
                <a:lnTo>
                  <a:pt x="4303942" y="4512321"/>
                </a:lnTo>
                <a:lnTo>
                  <a:pt x="4175371" y="4541105"/>
                </a:lnTo>
                <a:lnTo>
                  <a:pt x="4016859" y="4578883"/>
                </a:lnTo>
                <a:lnTo>
                  <a:pt x="3826643" y="4625657"/>
                </a:lnTo>
                <a:lnTo>
                  <a:pt x="3821360" y="4611265"/>
                </a:lnTo>
                <a:lnTo>
                  <a:pt x="3814315" y="4596873"/>
                </a:lnTo>
                <a:lnTo>
                  <a:pt x="3807270" y="4586079"/>
                </a:lnTo>
                <a:lnTo>
                  <a:pt x="3798464" y="4577084"/>
                </a:lnTo>
                <a:lnTo>
                  <a:pt x="3775567" y="4584280"/>
                </a:lnTo>
                <a:lnTo>
                  <a:pt x="3765000" y="4589677"/>
                </a:lnTo>
                <a:lnTo>
                  <a:pt x="3756194" y="4595074"/>
                </a:lnTo>
                <a:lnTo>
                  <a:pt x="3749149" y="4602270"/>
                </a:lnTo>
                <a:lnTo>
                  <a:pt x="3742104" y="4609466"/>
                </a:lnTo>
                <a:lnTo>
                  <a:pt x="3736820" y="4618461"/>
                </a:lnTo>
                <a:lnTo>
                  <a:pt x="3733297" y="4627456"/>
                </a:lnTo>
                <a:lnTo>
                  <a:pt x="3715685" y="4609466"/>
                </a:lnTo>
                <a:lnTo>
                  <a:pt x="3696311" y="4593275"/>
                </a:lnTo>
                <a:lnTo>
                  <a:pt x="3673415" y="4580682"/>
                </a:lnTo>
                <a:lnTo>
                  <a:pt x="3661086" y="4575285"/>
                </a:lnTo>
                <a:lnTo>
                  <a:pt x="3648757" y="4571687"/>
                </a:lnTo>
                <a:lnTo>
                  <a:pt x="3631145" y="4568089"/>
                </a:lnTo>
                <a:lnTo>
                  <a:pt x="3615293" y="4564491"/>
                </a:lnTo>
                <a:lnTo>
                  <a:pt x="3599442" y="4562692"/>
                </a:lnTo>
                <a:lnTo>
                  <a:pt x="3583591" y="4562692"/>
                </a:lnTo>
                <a:lnTo>
                  <a:pt x="3567740" y="4564491"/>
                </a:lnTo>
                <a:lnTo>
                  <a:pt x="3553650" y="4566290"/>
                </a:lnTo>
                <a:lnTo>
                  <a:pt x="3539560" y="4569888"/>
                </a:lnTo>
                <a:lnTo>
                  <a:pt x="3525470" y="4573486"/>
                </a:lnTo>
                <a:lnTo>
                  <a:pt x="3511380" y="4578883"/>
                </a:lnTo>
                <a:lnTo>
                  <a:pt x="3499051" y="4584280"/>
                </a:lnTo>
                <a:lnTo>
                  <a:pt x="3476155" y="4598672"/>
                </a:lnTo>
                <a:lnTo>
                  <a:pt x="3456781" y="4616662"/>
                </a:lnTo>
                <a:lnTo>
                  <a:pt x="3439168" y="4636451"/>
                </a:lnTo>
                <a:lnTo>
                  <a:pt x="3442691" y="4641848"/>
                </a:lnTo>
                <a:lnTo>
                  <a:pt x="3451497" y="4650843"/>
                </a:lnTo>
                <a:lnTo>
                  <a:pt x="3458542" y="4658039"/>
                </a:lnTo>
                <a:lnTo>
                  <a:pt x="3467348" y="4663436"/>
                </a:lnTo>
                <a:lnTo>
                  <a:pt x="3477916" y="4670632"/>
                </a:lnTo>
                <a:lnTo>
                  <a:pt x="3490245" y="4676029"/>
                </a:lnTo>
                <a:lnTo>
                  <a:pt x="3481438" y="4685023"/>
                </a:lnTo>
                <a:lnTo>
                  <a:pt x="3474393" y="4697616"/>
                </a:lnTo>
                <a:lnTo>
                  <a:pt x="3467348" y="4708410"/>
                </a:lnTo>
                <a:lnTo>
                  <a:pt x="3462065" y="4721003"/>
                </a:lnTo>
                <a:lnTo>
                  <a:pt x="3159130" y="4804656"/>
                </a:lnTo>
                <a:lnTo>
                  <a:pt x="2813924" y="4901801"/>
                </a:lnTo>
                <a:lnTo>
                  <a:pt x="2422927" y="5016936"/>
                </a:lnTo>
                <a:lnTo>
                  <a:pt x="1984375" y="5148262"/>
                </a:lnTo>
                <a:lnTo>
                  <a:pt x="0" y="514826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0" rIns="0" bIns="0" numCol="1" anchor="t" anchorCtr="0" compatLnSpc="1">
            <a:prstTxWarp prst="textNoShape">
              <a:avLst/>
            </a:prstTxWarp>
            <a:noAutofit/>
          </a:bodyPr>
          <a:lstStyle>
            <a:lvl1pPr algn="ctr">
              <a:defRPr lang="en-US" sz="186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endParaRPr lang="en-US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EAC9C58-3864-4DD8-B93D-CD73B706CA0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auto">
          <a:xfrm>
            <a:off x="6097059" y="1"/>
            <a:ext cx="6094942" cy="6858000"/>
          </a:xfrm>
          <a:custGeom>
            <a:avLst/>
            <a:gdLst>
              <a:gd name="connsiteX0" fmla="*/ 0 w 4575175"/>
              <a:gd name="connsiteY0" fmla="*/ 0 h 5148263"/>
              <a:gd name="connsiteX1" fmla="*/ 4575175 w 4575175"/>
              <a:gd name="connsiteY1" fmla="*/ 0 h 5148263"/>
              <a:gd name="connsiteX2" fmla="*/ 4575175 w 4575175"/>
              <a:gd name="connsiteY2" fmla="*/ 4460152 h 5148263"/>
              <a:gd name="connsiteX3" fmla="*/ 4536394 w 4575175"/>
              <a:gd name="connsiteY3" fmla="*/ 4467348 h 5148263"/>
              <a:gd name="connsiteX4" fmla="*/ 4483511 w 4575175"/>
              <a:gd name="connsiteY4" fmla="*/ 4476343 h 5148263"/>
              <a:gd name="connsiteX5" fmla="*/ 4405948 w 4575175"/>
              <a:gd name="connsiteY5" fmla="*/ 4490735 h 5148263"/>
              <a:gd name="connsiteX6" fmla="*/ 4303707 w 4575175"/>
              <a:gd name="connsiteY6" fmla="*/ 4512323 h 5148263"/>
              <a:gd name="connsiteX7" fmla="*/ 4175024 w 4575175"/>
              <a:gd name="connsiteY7" fmla="*/ 4541106 h 5148263"/>
              <a:gd name="connsiteX8" fmla="*/ 4016374 w 4575175"/>
              <a:gd name="connsiteY8" fmla="*/ 4578885 h 5148263"/>
              <a:gd name="connsiteX9" fmla="*/ 3825994 w 4575175"/>
              <a:gd name="connsiteY9" fmla="*/ 4625659 h 5148263"/>
              <a:gd name="connsiteX10" fmla="*/ 3820705 w 4575175"/>
              <a:gd name="connsiteY10" fmla="*/ 4611267 h 5148263"/>
              <a:gd name="connsiteX11" fmla="*/ 3813654 w 4575175"/>
              <a:gd name="connsiteY11" fmla="*/ 4596875 h 5148263"/>
              <a:gd name="connsiteX12" fmla="*/ 3806603 w 4575175"/>
              <a:gd name="connsiteY12" fmla="*/ 4586081 h 5148263"/>
              <a:gd name="connsiteX13" fmla="*/ 3797789 w 4575175"/>
              <a:gd name="connsiteY13" fmla="*/ 4577086 h 5148263"/>
              <a:gd name="connsiteX14" fmla="*/ 3774873 w 4575175"/>
              <a:gd name="connsiteY14" fmla="*/ 4584282 h 5148263"/>
              <a:gd name="connsiteX15" fmla="*/ 3764297 w 4575175"/>
              <a:gd name="connsiteY15" fmla="*/ 4589679 h 5148263"/>
              <a:gd name="connsiteX16" fmla="*/ 3755483 w 4575175"/>
              <a:gd name="connsiteY16" fmla="*/ 4595076 h 5148263"/>
              <a:gd name="connsiteX17" fmla="*/ 3748431 w 4575175"/>
              <a:gd name="connsiteY17" fmla="*/ 4602272 h 5148263"/>
              <a:gd name="connsiteX18" fmla="*/ 3741380 w 4575175"/>
              <a:gd name="connsiteY18" fmla="*/ 4609468 h 5148263"/>
              <a:gd name="connsiteX19" fmla="*/ 3736092 w 4575175"/>
              <a:gd name="connsiteY19" fmla="*/ 4618463 h 5148263"/>
              <a:gd name="connsiteX20" fmla="*/ 3732566 w 4575175"/>
              <a:gd name="connsiteY20" fmla="*/ 4627458 h 5148263"/>
              <a:gd name="connsiteX21" fmla="*/ 3714939 w 4575175"/>
              <a:gd name="connsiteY21" fmla="*/ 4609468 h 5148263"/>
              <a:gd name="connsiteX22" fmla="*/ 3695548 w 4575175"/>
              <a:gd name="connsiteY22" fmla="*/ 4593277 h 5148263"/>
              <a:gd name="connsiteX23" fmla="*/ 3672632 w 4575175"/>
              <a:gd name="connsiteY23" fmla="*/ 4580684 h 5148263"/>
              <a:gd name="connsiteX24" fmla="*/ 3660293 w 4575175"/>
              <a:gd name="connsiteY24" fmla="*/ 4575287 h 5148263"/>
              <a:gd name="connsiteX25" fmla="*/ 3647953 w 4575175"/>
              <a:gd name="connsiteY25" fmla="*/ 4571689 h 5148263"/>
              <a:gd name="connsiteX26" fmla="*/ 3630325 w 4575175"/>
              <a:gd name="connsiteY26" fmla="*/ 4568091 h 5148263"/>
              <a:gd name="connsiteX27" fmla="*/ 3614460 w 4575175"/>
              <a:gd name="connsiteY27" fmla="*/ 4564493 h 5148263"/>
              <a:gd name="connsiteX28" fmla="*/ 3598595 w 4575175"/>
              <a:gd name="connsiteY28" fmla="*/ 4562694 h 5148263"/>
              <a:gd name="connsiteX29" fmla="*/ 3582730 w 4575175"/>
              <a:gd name="connsiteY29" fmla="*/ 4562694 h 5148263"/>
              <a:gd name="connsiteX30" fmla="*/ 3566865 w 4575175"/>
              <a:gd name="connsiteY30" fmla="*/ 4564493 h 5148263"/>
              <a:gd name="connsiteX31" fmla="*/ 3552763 w 4575175"/>
              <a:gd name="connsiteY31" fmla="*/ 4566292 h 5148263"/>
              <a:gd name="connsiteX32" fmla="*/ 3538661 w 4575175"/>
              <a:gd name="connsiteY32" fmla="*/ 4569890 h 5148263"/>
              <a:gd name="connsiteX33" fmla="*/ 3524558 w 4575175"/>
              <a:gd name="connsiteY33" fmla="*/ 4573488 h 5148263"/>
              <a:gd name="connsiteX34" fmla="*/ 3510456 w 4575175"/>
              <a:gd name="connsiteY34" fmla="*/ 4578885 h 5148263"/>
              <a:gd name="connsiteX35" fmla="*/ 3498117 w 4575175"/>
              <a:gd name="connsiteY35" fmla="*/ 4584282 h 5148263"/>
              <a:gd name="connsiteX36" fmla="*/ 3475201 w 4575175"/>
              <a:gd name="connsiteY36" fmla="*/ 4598674 h 5148263"/>
              <a:gd name="connsiteX37" fmla="*/ 3455810 w 4575175"/>
              <a:gd name="connsiteY37" fmla="*/ 4616664 h 5148263"/>
              <a:gd name="connsiteX38" fmla="*/ 3438182 w 4575175"/>
              <a:gd name="connsiteY38" fmla="*/ 4636453 h 5148263"/>
              <a:gd name="connsiteX39" fmla="*/ 3441708 w 4575175"/>
              <a:gd name="connsiteY39" fmla="*/ 4641850 h 5148263"/>
              <a:gd name="connsiteX40" fmla="*/ 3450522 w 4575175"/>
              <a:gd name="connsiteY40" fmla="*/ 4650844 h 5148263"/>
              <a:gd name="connsiteX41" fmla="*/ 3457573 w 4575175"/>
              <a:gd name="connsiteY41" fmla="*/ 4658040 h 5148263"/>
              <a:gd name="connsiteX42" fmla="*/ 3466387 w 4575175"/>
              <a:gd name="connsiteY42" fmla="*/ 4663437 h 5148263"/>
              <a:gd name="connsiteX43" fmla="*/ 3476963 w 4575175"/>
              <a:gd name="connsiteY43" fmla="*/ 4670633 h 5148263"/>
              <a:gd name="connsiteX44" fmla="*/ 3489303 w 4575175"/>
              <a:gd name="connsiteY44" fmla="*/ 4676030 h 5148263"/>
              <a:gd name="connsiteX45" fmla="*/ 3480489 w 4575175"/>
              <a:gd name="connsiteY45" fmla="*/ 4685025 h 5148263"/>
              <a:gd name="connsiteX46" fmla="*/ 3473438 w 4575175"/>
              <a:gd name="connsiteY46" fmla="*/ 4697618 h 5148263"/>
              <a:gd name="connsiteX47" fmla="*/ 3466387 w 4575175"/>
              <a:gd name="connsiteY47" fmla="*/ 4708412 h 5148263"/>
              <a:gd name="connsiteX48" fmla="*/ 3461098 w 4575175"/>
              <a:gd name="connsiteY48" fmla="*/ 4721005 h 5148263"/>
              <a:gd name="connsiteX49" fmla="*/ 3157900 w 4575175"/>
              <a:gd name="connsiteY49" fmla="*/ 4804657 h 5148263"/>
              <a:gd name="connsiteX50" fmla="*/ 2812395 w 4575175"/>
              <a:gd name="connsiteY50" fmla="*/ 4901803 h 5148263"/>
              <a:gd name="connsiteX51" fmla="*/ 2421058 w 4575175"/>
              <a:gd name="connsiteY51" fmla="*/ 5016937 h 5148263"/>
              <a:gd name="connsiteX52" fmla="*/ 1982126 w 4575175"/>
              <a:gd name="connsiteY52" fmla="*/ 5148263 h 5148263"/>
              <a:gd name="connsiteX53" fmla="*/ 0 w 4575175"/>
              <a:gd name="connsiteY53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3">
                <a:moveTo>
                  <a:pt x="0" y="0"/>
                </a:moveTo>
                <a:lnTo>
                  <a:pt x="4575175" y="0"/>
                </a:lnTo>
                <a:lnTo>
                  <a:pt x="4575175" y="4460152"/>
                </a:lnTo>
                <a:lnTo>
                  <a:pt x="4536394" y="4467348"/>
                </a:lnTo>
                <a:lnTo>
                  <a:pt x="4483511" y="4476343"/>
                </a:lnTo>
                <a:lnTo>
                  <a:pt x="4405948" y="4490735"/>
                </a:lnTo>
                <a:lnTo>
                  <a:pt x="4303707" y="4512323"/>
                </a:lnTo>
                <a:lnTo>
                  <a:pt x="4175024" y="4541106"/>
                </a:lnTo>
                <a:lnTo>
                  <a:pt x="4016374" y="4578885"/>
                </a:lnTo>
                <a:lnTo>
                  <a:pt x="3825994" y="4625659"/>
                </a:lnTo>
                <a:lnTo>
                  <a:pt x="3820705" y="4611267"/>
                </a:lnTo>
                <a:lnTo>
                  <a:pt x="3813654" y="4596875"/>
                </a:lnTo>
                <a:lnTo>
                  <a:pt x="3806603" y="4586081"/>
                </a:lnTo>
                <a:lnTo>
                  <a:pt x="3797789" y="4577086"/>
                </a:lnTo>
                <a:lnTo>
                  <a:pt x="3774873" y="4584282"/>
                </a:lnTo>
                <a:lnTo>
                  <a:pt x="3764297" y="4589679"/>
                </a:lnTo>
                <a:lnTo>
                  <a:pt x="3755483" y="4595076"/>
                </a:lnTo>
                <a:lnTo>
                  <a:pt x="3748431" y="4602272"/>
                </a:lnTo>
                <a:lnTo>
                  <a:pt x="3741380" y="4609468"/>
                </a:lnTo>
                <a:lnTo>
                  <a:pt x="3736092" y="4618463"/>
                </a:lnTo>
                <a:lnTo>
                  <a:pt x="3732566" y="4627458"/>
                </a:lnTo>
                <a:lnTo>
                  <a:pt x="3714939" y="4609468"/>
                </a:lnTo>
                <a:lnTo>
                  <a:pt x="3695548" y="4593277"/>
                </a:lnTo>
                <a:lnTo>
                  <a:pt x="3672632" y="4580684"/>
                </a:lnTo>
                <a:lnTo>
                  <a:pt x="3660293" y="4575287"/>
                </a:lnTo>
                <a:lnTo>
                  <a:pt x="3647953" y="4571689"/>
                </a:lnTo>
                <a:lnTo>
                  <a:pt x="3630325" y="4568091"/>
                </a:lnTo>
                <a:lnTo>
                  <a:pt x="3614460" y="4564493"/>
                </a:lnTo>
                <a:lnTo>
                  <a:pt x="3598595" y="4562694"/>
                </a:lnTo>
                <a:lnTo>
                  <a:pt x="3582730" y="4562694"/>
                </a:lnTo>
                <a:lnTo>
                  <a:pt x="3566865" y="4564493"/>
                </a:lnTo>
                <a:lnTo>
                  <a:pt x="3552763" y="4566292"/>
                </a:lnTo>
                <a:lnTo>
                  <a:pt x="3538661" y="4569890"/>
                </a:lnTo>
                <a:lnTo>
                  <a:pt x="3524558" y="4573488"/>
                </a:lnTo>
                <a:lnTo>
                  <a:pt x="3510456" y="4578885"/>
                </a:lnTo>
                <a:lnTo>
                  <a:pt x="3498117" y="4584282"/>
                </a:lnTo>
                <a:lnTo>
                  <a:pt x="3475201" y="4598674"/>
                </a:lnTo>
                <a:lnTo>
                  <a:pt x="3455810" y="4616664"/>
                </a:lnTo>
                <a:lnTo>
                  <a:pt x="3438182" y="4636453"/>
                </a:lnTo>
                <a:lnTo>
                  <a:pt x="3441708" y="4641850"/>
                </a:lnTo>
                <a:lnTo>
                  <a:pt x="3450522" y="4650844"/>
                </a:lnTo>
                <a:lnTo>
                  <a:pt x="3457573" y="4658040"/>
                </a:lnTo>
                <a:lnTo>
                  <a:pt x="3466387" y="4663437"/>
                </a:lnTo>
                <a:lnTo>
                  <a:pt x="3476963" y="4670633"/>
                </a:lnTo>
                <a:lnTo>
                  <a:pt x="3489303" y="4676030"/>
                </a:lnTo>
                <a:lnTo>
                  <a:pt x="3480489" y="4685025"/>
                </a:lnTo>
                <a:lnTo>
                  <a:pt x="3473438" y="4697618"/>
                </a:lnTo>
                <a:lnTo>
                  <a:pt x="3466387" y="4708412"/>
                </a:lnTo>
                <a:lnTo>
                  <a:pt x="3461098" y="4721005"/>
                </a:lnTo>
                <a:lnTo>
                  <a:pt x="3157900" y="4804657"/>
                </a:lnTo>
                <a:lnTo>
                  <a:pt x="2812395" y="4901803"/>
                </a:lnTo>
                <a:lnTo>
                  <a:pt x="2421058" y="5016937"/>
                </a:lnTo>
                <a:lnTo>
                  <a:pt x="1982126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86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Tijdelijke aanduiding voor inhoud 2">
            <a:extLst>
              <a:ext uri="{FF2B5EF4-FFF2-40B4-BE49-F238E27FC236}">
                <a16:creationId xmlns:a16="http://schemas.microsoft.com/office/drawing/2014/main" id="{E5BD2942-2D6D-4D61-8299-158261CA829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58401" y="1640081"/>
            <a:ext cx="4577025" cy="1569660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nl-NL"/>
              <a:t>Click to edit Master text styles</a:t>
            </a:r>
          </a:p>
          <a:p>
            <a:pPr lvl="1"/>
            <a:r>
              <a:rPr lang="en-US" altLang="nl-NL"/>
              <a:t>Second level</a:t>
            </a:r>
          </a:p>
          <a:p>
            <a:pPr lvl="2"/>
            <a:r>
              <a:rPr lang="en-US" altLang="nl-NL"/>
              <a:t>Third level</a:t>
            </a:r>
          </a:p>
          <a:p>
            <a:pPr lvl="3"/>
            <a:r>
              <a:rPr lang="en-US" altLang="nl-NL"/>
              <a:t>Fourth level</a:t>
            </a:r>
          </a:p>
          <a:p>
            <a:pPr lvl="4"/>
            <a:r>
              <a:rPr lang="en-US" altLang="nl-NL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FE2B22-4E84-4C31-BCCA-F0E56DF62F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403" y="364975"/>
            <a:ext cx="4577025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25" name="Tijdelijke aanduiding voor dianummer 4">
            <a:extLst>
              <a:ext uri="{FF2B5EF4-FFF2-40B4-BE49-F238E27FC236}">
                <a16:creationId xmlns:a16="http://schemas.microsoft.com/office/drawing/2014/main" id="{0E6C3D4C-1A93-4E42-9AF3-24F8B47CB4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57599" y="6280425"/>
            <a:ext cx="1587501" cy="184494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altLang="nl-NL"/>
              <a:t>Page </a:t>
            </a:r>
            <a:fld id="{1819A7CB-B175-4DED-A0F5-C4E40DE17C1C}" type="slidenum">
              <a:rPr lang="en-US" altLang="nl-NL" smtClean="0"/>
              <a:pPr/>
              <a:t>‹#›</a:t>
            </a:fld>
            <a:endParaRPr lang="en-US" altLang="nl-NL"/>
          </a:p>
        </p:txBody>
      </p:sp>
      <p:pic>
        <p:nvPicPr>
          <p:cNvPr id="24" name="Afbeelding 6">
            <a:extLst>
              <a:ext uri="{FF2B5EF4-FFF2-40B4-BE49-F238E27FC236}">
                <a16:creationId xmlns:a16="http://schemas.microsoft.com/office/drawing/2014/main" id="{04463FA0-69EE-4082-AC99-8EF19C4EF5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3575" y="5769464"/>
            <a:ext cx="3908426" cy="1088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08959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 / column, add image / gree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80" name="Rectangle 8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27518" y="2"/>
          <a:ext cx="158749" cy="15860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7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3080" name="Rectangle 8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518" y="2"/>
                        <a:ext cx="158749" cy="15860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124BA64F-597F-4E64-A7FE-DE02B76130CA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2" y="2"/>
            <a:ext cx="87" cy="36899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80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6394" b="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Franklin Gothic Heavy" panose="020B0903020102020204" pitchFamily="34" charset="0"/>
              <a:ea typeface="+mj-ea"/>
              <a:cs typeface="+mj-cs"/>
              <a:sym typeface="Franklin Gothic Heavy" panose="020B0903020102020204" pitchFamily="34" charset="0"/>
            </a:endParaRPr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D7B4C712-7F02-4D4C-A02C-3FC762602523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 bwMode="auto">
          <a:xfrm>
            <a:off x="6097059" y="0"/>
            <a:ext cx="6094942" cy="6857999"/>
          </a:xfrm>
          <a:custGeom>
            <a:avLst/>
            <a:gdLst>
              <a:gd name="connsiteX0" fmla="*/ 0 w 4575175"/>
              <a:gd name="connsiteY0" fmla="*/ 0 h 5148262"/>
              <a:gd name="connsiteX1" fmla="*/ 4575175 w 4575175"/>
              <a:gd name="connsiteY1" fmla="*/ 0 h 5148262"/>
              <a:gd name="connsiteX2" fmla="*/ 4575175 w 4575175"/>
              <a:gd name="connsiteY2" fmla="*/ 4460150 h 5148262"/>
              <a:gd name="connsiteX3" fmla="*/ 4536427 w 4575175"/>
              <a:gd name="connsiteY3" fmla="*/ 4467346 h 5148262"/>
              <a:gd name="connsiteX4" fmla="*/ 4483590 w 4575175"/>
              <a:gd name="connsiteY4" fmla="*/ 4476341 h 5148262"/>
              <a:gd name="connsiteX5" fmla="*/ 4406095 w 4575175"/>
              <a:gd name="connsiteY5" fmla="*/ 4490733 h 5148262"/>
              <a:gd name="connsiteX6" fmla="*/ 4303942 w 4575175"/>
              <a:gd name="connsiteY6" fmla="*/ 4512321 h 5148262"/>
              <a:gd name="connsiteX7" fmla="*/ 4175371 w 4575175"/>
              <a:gd name="connsiteY7" fmla="*/ 4541105 h 5148262"/>
              <a:gd name="connsiteX8" fmla="*/ 4016859 w 4575175"/>
              <a:gd name="connsiteY8" fmla="*/ 4578883 h 5148262"/>
              <a:gd name="connsiteX9" fmla="*/ 3826643 w 4575175"/>
              <a:gd name="connsiteY9" fmla="*/ 4625657 h 5148262"/>
              <a:gd name="connsiteX10" fmla="*/ 3821360 w 4575175"/>
              <a:gd name="connsiteY10" fmla="*/ 4611265 h 5148262"/>
              <a:gd name="connsiteX11" fmla="*/ 3814315 w 4575175"/>
              <a:gd name="connsiteY11" fmla="*/ 4596873 h 5148262"/>
              <a:gd name="connsiteX12" fmla="*/ 3807270 w 4575175"/>
              <a:gd name="connsiteY12" fmla="*/ 4586079 h 5148262"/>
              <a:gd name="connsiteX13" fmla="*/ 3798464 w 4575175"/>
              <a:gd name="connsiteY13" fmla="*/ 4577084 h 5148262"/>
              <a:gd name="connsiteX14" fmla="*/ 3775567 w 4575175"/>
              <a:gd name="connsiteY14" fmla="*/ 4584280 h 5148262"/>
              <a:gd name="connsiteX15" fmla="*/ 3765000 w 4575175"/>
              <a:gd name="connsiteY15" fmla="*/ 4589677 h 5148262"/>
              <a:gd name="connsiteX16" fmla="*/ 3756194 w 4575175"/>
              <a:gd name="connsiteY16" fmla="*/ 4595074 h 5148262"/>
              <a:gd name="connsiteX17" fmla="*/ 3749149 w 4575175"/>
              <a:gd name="connsiteY17" fmla="*/ 4602270 h 5148262"/>
              <a:gd name="connsiteX18" fmla="*/ 3742104 w 4575175"/>
              <a:gd name="connsiteY18" fmla="*/ 4609466 h 5148262"/>
              <a:gd name="connsiteX19" fmla="*/ 3736820 w 4575175"/>
              <a:gd name="connsiteY19" fmla="*/ 4618461 h 5148262"/>
              <a:gd name="connsiteX20" fmla="*/ 3733297 w 4575175"/>
              <a:gd name="connsiteY20" fmla="*/ 4627456 h 5148262"/>
              <a:gd name="connsiteX21" fmla="*/ 3715685 w 4575175"/>
              <a:gd name="connsiteY21" fmla="*/ 4609466 h 5148262"/>
              <a:gd name="connsiteX22" fmla="*/ 3696311 w 4575175"/>
              <a:gd name="connsiteY22" fmla="*/ 4593275 h 5148262"/>
              <a:gd name="connsiteX23" fmla="*/ 3673415 w 4575175"/>
              <a:gd name="connsiteY23" fmla="*/ 4580682 h 5148262"/>
              <a:gd name="connsiteX24" fmla="*/ 3661086 w 4575175"/>
              <a:gd name="connsiteY24" fmla="*/ 4575285 h 5148262"/>
              <a:gd name="connsiteX25" fmla="*/ 3648757 w 4575175"/>
              <a:gd name="connsiteY25" fmla="*/ 4571687 h 5148262"/>
              <a:gd name="connsiteX26" fmla="*/ 3631145 w 4575175"/>
              <a:gd name="connsiteY26" fmla="*/ 4568089 h 5148262"/>
              <a:gd name="connsiteX27" fmla="*/ 3615293 w 4575175"/>
              <a:gd name="connsiteY27" fmla="*/ 4564491 h 5148262"/>
              <a:gd name="connsiteX28" fmla="*/ 3599442 w 4575175"/>
              <a:gd name="connsiteY28" fmla="*/ 4562692 h 5148262"/>
              <a:gd name="connsiteX29" fmla="*/ 3583591 w 4575175"/>
              <a:gd name="connsiteY29" fmla="*/ 4562692 h 5148262"/>
              <a:gd name="connsiteX30" fmla="*/ 3567740 w 4575175"/>
              <a:gd name="connsiteY30" fmla="*/ 4564491 h 5148262"/>
              <a:gd name="connsiteX31" fmla="*/ 3553650 w 4575175"/>
              <a:gd name="connsiteY31" fmla="*/ 4566290 h 5148262"/>
              <a:gd name="connsiteX32" fmla="*/ 3539560 w 4575175"/>
              <a:gd name="connsiteY32" fmla="*/ 4569888 h 5148262"/>
              <a:gd name="connsiteX33" fmla="*/ 3525470 w 4575175"/>
              <a:gd name="connsiteY33" fmla="*/ 4573486 h 5148262"/>
              <a:gd name="connsiteX34" fmla="*/ 3511380 w 4575175"/>
              <a:gd name="connsiteY34" fmla="*/ 4578883 h 5148262"/>
              <a:gd name="connsiteX35" fmla="*/ 3499051 w 4575175"/>
              <a:gd name="connsiteY35" fmla="*/ 4584280 h 5148262"/>
              <a:gd name="connsiteX36" fmla="*/ 3476155 w 4575175"/>
              <a:gd name="connsiteY36" fmla="*/ 4598672 h 5148262"/>
              <a:gd name="connsiteX37" fmla="*/ 3456781 w 4575175"/>
              <a:gd name="connsiteY37" fmla="*/ 4616662 h 5148262"/>
              <a:gd name="connsiteX38" fmla="*/ 3439168 w 4575175"/>
              <a:gd name="connsiteY38" fmla="*/ 4636451 h 5148262"/>
              <a:gd name="connsiteX39" fmla="*/ 3442691 w 4575175"/>
              <a:gd name="connsiteY39" fmla="*/ 4641848 h 5148262"/>
              <a:gd name="connsiteX40" fmla="*/ 3451497 w 4575175"/>
              <a:gd name="connsiteY40" fmla="*/ 4650843 h 5148262"/>
              <a:gd name="connsiteX41" fmla="*/ 3458542 w 4575175"/>
              <a:gd name="connsiteY41" fmla="*/ 4658039 h 5148262"/>
              <a:gd name="connsiteX42" fmla="*/ 3467348 w 4575175"/>
              <a:gd name="connsiteY42" fmla="*/ 4663436 h 5148262"/>
              <a:gd name="connsiteX43" fmla="*/ 3477916 w 4575175"/>
              <a:gd name="connsiteY43" fmla="*/ 4670632 h 5148262"/>
              <a:gd name="connsiteX44" fmla="*/ 3490245 w 4575175"/>
              <a:gd name="connsiteY44" fmla="*/ 4676029 h 5148262"/>
              <a:gd name="connsiteX45" fmla="*/ 3481438 w 4575175"/>
              <a:gd name="connsiteY45" fmla="*/ 4685023 h 5148262"/>
              <a:gd name="connsiteX46" fmla="*/ 3474393 w 4575175"/>
              <a:gd name="connsiteY46" fmla="*/ 4697616 h 5148262"/>
              <a:gd name="connsiteX47" fmla="*/ 3467348 w 4575175"/>
              <a:gd name="connsiteY47" fmla="*/ 4708410 h 5148262"/>
              <a:gd name="connsiteX48" fmla="*/ 3462065 w 4575175"/>
              <a:gd name="connsiteY48" fmla="*/ 4721003 h 5148262"/>
              <a:gd name="connsiteX49" fmla="*/ 3159130 w 4575175"/>
              <a:gd name="connsiteY49" fmla="*/ 4804656 h 5148262"/>
              <a:gd name="connsiteX50" fmla="*/ 2813924 w 4575175"/>
              <a:gd name="connsiteY50" fmla="*/ 4901801 h 5148262"/>
              <a:gd name="connsiteX51" fmla="*/ 2422927 w 4575175"/>
              <a:gd name="connsiteY51" fmla="*/ 5016936 h 5148262"/>
              <a:gd name="connsiteX52" fmla="*/ 1984375 w 4575175"/>
              <a:gd name="connsiteY52" fmla="*/ 5148262 h 5148262"/>
              <a:gd name="connsiteX53" fmla="*/ 0 w 4575175"/>
              <a:gd name="connsiteY53" fmla="*/ 5148262 h 5148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2">
                <a:moveTo>
                  <a:pt x="0" y="0"/>
                </a:moveTo>
                <a:lnTo>
                  <a:pt x="4575175" y="0"/>
                </a:lnTo>
                <a:lnTo>
                  <a:pt x="4575175" y="4460150"/>
                </a:lnTo>
                <a:lnTo>
                  <a:pt x="4536427" y="4467346"/>
                </a:lnTo>
                <a:lnTo>
                  <a:pt x="4483590" y="4476341"/>
                </a:lnTo>
                <a:lnTo>
                  <a:pt x="4406095" y="4490733"/>
                </a:lnTo>
                <a:lnTo>
                  <a:pt x="4303942" y="4512321"/>
                </a:lnTo>
                <a:lnTo>
                  <a:pt x="4175371" y="4541105"/>
                </a:lnTo>
                <a:lnTo>
                  <a:pt x="4016859" y="4578883"/>
                </a:lnTo>
                <a:lnTo>
                  <a:pt x="3826643" y="4625657"/>
                </a:lnTo>
                <a:lnTo>
                  <a:pt x="3821360" y="4611265"/>
                </a:lnTo>
                <a:lnTo>
                  <a:pt x="3814315" y="4596873"/>
                </a:lnTo>
                <a:lnTo>
                  <a:pt x="3807270" y="4586079"/>
                </a:lnTo>
                <a:lnTo>
                  <a:pt x="3798464" y="4577084"/>
                </a:lnTo>
                <a:lnTo>
                  <a:pt x="3775567" y="4584280"/>
                </a:lnTo>
                <a:lnTo>
                  <a:pt x="3765000" y="4589677"/>
                </a:lnTo>
                <a:lnTo>
                  <a:pt x="3756194" y="4595074"/>
                </a:lnTo>
                <a:lnTo>
                  <a:pt x="3749149" y="4602270"/>
                </a:lnTo>
                <a:lnTo>
                  <a:pt x="3742104" y="4609466"/>
                </a:lnTo>
                <a:lnTo>
                  <a:pt x="3736820" y="4618461"/>
                </a:lnTo>
                <a:lnTo>
                  <a:pt x="3733297" y="4627456"/>
                </a:lnTo>
                <a:lnTo>
                  <a:pt x="3715685" y="4609466"/>
                </a:lnTo>
                <a:lnTo>
                  <a:pt x="3696311" y="4593275"/>
                </a:lnTo>
                <a:lnTo>
                  <a:pt x="3673415" y="4580682"/>
                </a:lnTo>
                <a:lnTo>
                  <a:pt x="3661086" y="4575285"/>
                </a:lnTo>
                <a:lnTo>
                  <a:pt x="3648757" y="4571687"/>
                </a:lnTo>
                <a:lnTo>
                  <a:pt x="3631145" y="4568089"/>
                </a:lnTo>
                <a:lnTo>
                  <a:pt x="3615293" y="4564491"/>
                </a:lnTo>
                <a:lnTo>
                  <a:pt x="3599442" y="4562692"/>
                </a:lnTo>
                <a:lnTo>
                  <a:pt x="3583591" y="4562692"/>
                </a:lnTo>
                <a:lnTo>
                  <a:pt x="3567740" y="4564491"/>
                </a:lnTo>
                <a:lnTo>
                  <a:pt x="3553650" y="4566290"/>
                </a:lnTo>
                <a:lnTo>
                  <a:pt x="3539560" y="4569888"/>
                </a:lnTo>
                <a:lnTo>
                  <a:pt x="3525470" y="4573486"/>
                </a:lnTo>
                <a:lnTo>
                  <a:pt x="3511380" y="4578883"/>
                </a:lnTo>
                <a:lnTo>
                  <a:pt x="3499051" y="4584280"/>
                </a:lnTo>
                <a:lnTo>
                  <a:pt x="3476155" y="4598672"/>
                </a:lnTo>
                <a:lnTo>
                  <a:pt x="3456781" y="4616662"/>
                </a:lnTo>
                <a:lnTo>
                  <a:pt x="3439168" y="4636451"/>
                </a:lnTo>
                <a:lnTo>
                  <a:pt x="3442691" y="4641848"/>
                </a:lnTo>
                <a:lnTo>
                  <a:pt x="3451497" y="4650843"/>
                </a:lnTo>
                <a:lnTo>
                  <a:pt x="3458542" y="4658039"/>
                </a:lnTo>
                <a:lnTo>
                  <a:pt x="3467348" y="4663436"/>
                </a:lnTo>
                <a:lnTo>
                  <a:pt x="3477916" y="4670632"/>
                </a:lnTo>
                <a:lnTo>
                  <a:pt x="3490245" y="4676029"/>
                </a:lnTo>
                <a:lnTo>
                  <a:pt x="3481438" y="4685023"/>
                </a:lnTo>
                <a:lnTo>
                  <a:pt x="3474393" y="4697616"/>
                </a:lnTo>
                <a:lnTo>
                  <a:pt x="3467348" y="4708410"/>
                </a:lnTo>
                <a:lnTo>
                  <a:pt x="3462065" y="4721003"/>
                </a:lnTo>
                <a:lnTo>
                  <a:pt x="3159130" y="4804656"/>
                </a:lnTo>
                <a:lnTo>
                  <a:pt x="2813924" y="4901801"/>
                </a:lnTo>
                <a:lnTo>
                  <a:pt x="2422927" y="5016936"/>
                </a:lnTo>
                <a:lnTo>
                  <a:pt x="1984375" y="5148262"/>
                </a:lnTo>
                <a:lnTo>
                  <a:pt x="0" y="5148262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0" rIns="0" bIns="0" numCol="1" anchor="t" anchorCtr="0" compatLnSpc="1">
            <a:prstTxWarp prst="textNoShape">
              <a:avLst/>
            </a:prstTxWarp>
            <a:noAutofit/>
          </a:bodyPr>
          <a:lstStyle>
            <a:lvl1pPr algn="ctr">
              <a:defRPr lang="en-US" sz="186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FontTx/>
              <a:buNone/>
            </a:pPr>
            <a:endParaRPr lang="en-US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8EAC9C58-3864-4DD8-B93D-CD73B706CA0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 bwMode="auto">
          <a:xfrm>
            <a:off x="6097059" y="1"/>
            <a:ext cx="6094942" cy="6858000"/>
          </a:xfrm>
          <a:custGeom>
            <a:avLst/>
            <a:gdLst>
              <a:gd name="connsiteX0" fmla="*/ 0 w 4575175"/>
              <a:gd name="connsiteY0" fmla="*/ 0 h 5148263"/>
              <a:gd name="connsiteX1" fmla="*/ 4575175 w 4575175"/>
              <a:gd name="connsiteY1" fmla="*/ 0 h 5148263"/>
              <a:gd name="connsiteX2" fmla="*/ 4575175 w 4575175"/>
              <a:gd name="connsiteY2" fmla="*/ 4460152 h 5148263"/>
              <a:gd name="connsiteX3" fmla="*/ 4536394 w 4575175"/>
              <a:gd name="connsiteY3" fmla="*/ 4467348 h 5148263"/>
              <a:gd name="connsiteX4" fmla="*/ 4483511 w 4575175"/>
              <a:gd name="connsiteY4" fmla="*/ 4476343 h 5148263"/>
              <a:gd name="connsiteX5" fmla="*/ 4405948 w 4575175"/>
              <a:gd name="connsiteY5" fmla="*/ 4490735 h 5148263"/>
              <a:gd name="connsiteX6" fmla="*/ 4303707 w 4575175"/>
              <a:gd name="connsiteY6" fmla="*/ 4512323 h 5148263"/>
              <a:gd name="connsiteX7" fmla="*/ 4175024 w 4575175"/>
              <a:gd name="connsiteY7" fmla="*/ 4541106 h 5148263"/>
              <a:gd name="connsiteX8" fmla="*/ 4016374 w 4575175"/>
              <a:gd name="connsiteY8" fmla="*/ 4578885 h 5148263"/>
              <a:gd name="connsiteX9" fmla="*/ 3825994 w 4575175"/>
              <a:gd name="connsiteY9" fmla="*/ 4625659 h 5148263"/>
              <a:gd name="connsiteX10" fmla="*/ 3820705 w 4575175"/>
              <a:gd name="connsiteY10" fmla="*/ 4611267 h 5148263"/>
              <a:gd name="connsiteX11" fmla="*/ 3813654 w 4575175"/>
              <a:gd name="connsiteY11" fmla="*/ 4596875 h 5148263"/>
              <a:gd name="connsiteX12" fmla="*/ 3806603 w 4575175"/>
              <a:gd name="connsiteY12" fmla="*/ 4586081 h 5148263"/>
              <a:gd name="connsiteX13" fmla="*/ 3797789 w 4575175"/>
              <a:gd name="connsiteY13" fmla="*/ 4577086 h 5148263"/>
              <a:gd name="connsiteX14" fmla="*/ 3774873 w 4575175"/>
              <a:gd name="connsiteY14" fmla="*/ 4584282 h 5148263"/>
              <a:gd name="connsiteX15" fmla="*/ 3764297 w 4575175"/>
              <a:gd name="connsiteY15" fmla="*/ 4589679 h 5148263"/>
              <a:gd name="connsiteX16" fmla="*/ 3755483 w 4575175"/>
              <a:gd name="connsiteY16" fmla="*/ 4595076 h 5148263"/>
              <a:gd name="connsiteX17" fmla="*/ 3748431 w 4575175"/>
              <a:gd name="connsiteY17" fmla="*/ 4602272 h 5148263"/>
              <a:gd name="connsiteX18" fmla="*/ 3741380 w 4575175"/>
              <a:gd name="connsiteY18" fmla="*/ 4609468 h 5148263"/>
              <a:gd name="connsiteX19" fmla="*/ 3736092 w 4575175"/>
              <a:gd name="connsiteY19" fmla="*/ 4618463 h 5148263"/>
              <a:gd name="connsiteX20" fmla="*/ 3732566 w 4575175"/>
              <a:gd name="connsiteY20" fmla="*/ 4627458 h 5148263"/>
              <a:gd name="connsiteX21" fmla="*/ 3714939 w 4575175"/>
              <a:gd name="connsiteY21" fmla="*/ 4609468 h 5148263"/>
              <a:gd name="connsiteX22" fmla="*/ 3695548 w 4575175"/>
              <a:gd name="connsiteY22" fmla="*/ 4593277 h 5148263"/>
              <a:gd name="connsiteX23" fmla="*/ 3672632 w 4575175"/>
              <a:gd name="connsiteY23" fmla="*/ 4580684 h 5148263"/>
              <a:gd name="connsiteX24" fmla="*/ 3660293 w 4575175"/>
              <a:gd name="connsiteY24" fmla="*/ 4575287 h 5148263"/>
              <a:gd name="connsiteX25" fmla="*/ 3647953 w 4575175"/>
              <a:gd name="connsiteY25" fmla="*/ 4571689 h 5148263"/>
              <a:gd name="connsiteX26" fmla="*/ 3630325 w 4575175"/>
              <a:gd name="connsiteY26" fmla="*/ 4568091 h 5148263"/>
              <a:gd name="connsiteX27" fmla="*/ 3614460 w 4575175"/>
              <a:gd name="connsiteY27" fmla="*/ 4564493 h 5148263"/>
              <a:gd name="connsiteX28" fmla="*/ 3598595 w 4575175"/>
              <a:gd name="connsiteY28" fmla="*/ 4562694 h 5148263"/>
              <a:gd name="connsiteX29" fmla="*/ 3582730 w 4575175"/>
              <a:gd name="connsiteY29" fmla="*/ 4562694 h 5148263"/>
              <a:gd name="connsiteX30" fmla="*/ 3566865 w 4575175"/>
              <a:gd name="connsiteY30" fmla="*/ 4564493 h 5148263"/>
              <a:gd name="connsiteX31" fmla="*/ 3552763 w 4575175"/>
              <a:gd name="connsiteY31" fmla="*/ 4566292 h 5148263"/>
              <a:gd name="connsiteX32" fmla="*/ 3538661 w 4575175"/>
              <a:gd name="connsiteY32" fmla="*/ 4569890 h 5148263"/>
              <a:gd name="connsiteX33" fmla="*/ 3524558 w 4575175"/>
              <a:gd name="connsiteY33" fmla="*/ 4573488 h 5148263"/>
              <a:gd name="connsiteX34" fmla="*/ 3510456 w 4575175"/>
              <a:gd name="connsiteY34" fmla="*/ 4578885 h 5148263"/>
              <a:gd name="connsiteX35" fmla="*/ 3498117 w 4575175"/>
              <a:gd name="connsiteY35" fmla="*/ 4584282 h 5148263"/>
              <a:gd name="connsiteX36" fmla="*/ 3475201 w 4575175"/>
              <a:gd name="connsiteY36" fmla="*/ 4598674 h 5148263"/>
              <a:gd name="connsiteX37" fmla="*/ 3455810 w 4575175"/>
              <a:gd name="connsiteY37" fmla="*/ 4616664 h 5148263"/>
              <a:gd name="connsiteX38" fmla="*/ 3438182 w 4575175"/>
              <a:gd name="connsiteY38" fmla="*/ 4636453 h 5148263"/>
              <a:gd name="connsiteX39" fmla="*/ 3441708 w 4575175"/>
              <a:gd name="connsiteY39" fmla="*/ 4641850 h 5148263"/>
              <a:gd name="connsiteX40" fmla="*/ 3450522 w 4575175"/>
              <a:gd name="connsiteY40" fmla="*/ 4650844 h 5148263"/>
              <a:gd name="connsiteX41" fmla="*/ 3457573 w 4575175"/>
              <a:gd name="connsiteY41" fmla="*/ 4658040 h 5148263"/>
              <a:gd name="connsiteX42" fmla="*/ 3466387 w 4575175"/>
              <a:gd name="connsiteY42" fmla="*/ 4663437 h 5148263"/>
              <a:gd name="connsiteX43" fmla="*/ 3476963 w 4575175"/>
              <a:gd name="connsiteY43" fmla="*/ 4670633 h 5148263"/>
              <a:gd name="connsiteX44" fmla="*/ 3489303 w 4575175"/>
              <a:gd name="connsiteY44" fmla="*/ 4676030 h 5148263"/>
              <a:gd name="connsiteX45" fmla="*/ 3480489 w 4575175"/>
              <a:gd name="connsiteY45" fmla="*/ 4685025 h 5148263"/>
              <a:gd name="connsiteX46" fmla="*/ 3473438 w 4575175"/>
              <a:gd name="connsiteY46" fmla="*/ 4697618 h 5148263"/>
              <a:gd name="connsiteX47" fmla="*/ 3466387 w 4575175"/>
              <a:gd name="connsiteY47" fmla="*/ 4708412 h 5148263"/>
              <a:gd name="connsiteX48" fmla="*/ 3461098 w 4575175"/>
              <a:gd name="connsiteY48" fmla="*/ 4721005 h 5148263"/>
              <a:gd name="connsiteX49" fmla="*/ 3157900 w 4575175"/>
              <a:gd name="connsiteY49" fmla="*/ 4804657 h 5148263"/>
              <a:gd name="connsiteX50" fmla="*/ 2812395 w 4575175"/>
              <a:gd name="connsiteY50" fmla="*/ 4901803 h 5148263"/>
              <a:gd name="connsiteX51" fmla="*/ 2421058 w 4575175"/>
              <a:gd name="connsiteY51" fmla="*/ 5016937 h 5148263"/>
              <a:gd name="connsiteX52" fmla="*/ 1982126 w 4575175"/>
              <a:gd name="connsiteY52" fmla="*/ 5148263 h 5148263"/>
              <a:gd name="connsiteX53" fmla="*/ 0 w 4575175"/>
              <a:gd name="connsiteY53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3">
                <a:moveTo>
                  <a:pt x="0" y="0"/>
                </a:moveTo>
                <a:lnTo>
                  <a:pt x="4575175" y="0"/>
                </a:lnTo>
                <a:lnTo>
                  <a:pt x="4575175" y="4460152"/>
                </a:lnTo>
                <a:lnTo>
                  <a:pt x="4536394" y="4467348"/>
                </a:lnTo>
                <a:lnTo>
                  <a:pt x="4483511" y="4476343"/>
                </a:lnTo>
                <a:lnTo>
                  <a:pt x="4405948" y="4490735"/>
                </a:lnTo>
                <a:lnTo>
                  <a:pt x="4303707" y="4512323"/>
                </a:lnTo>
                <a:lnTo>
                  <a:pt x="4175024" y="4541106"/>
                </a:lnTo>
                <a:lnTo>
                  <a:pt x="4016374" y="4578885"/>
                </a:lnTo>
                <a:lnTo>
                  <a:pt x="3825994" y="4625659"/>
                </a:lnTo>
                <a:lnTo>
                  <a:pt x="3820705" y="4611267"/>
                </a:lnTo>
                <a:lnTo>
                  <a:pt x="3813654" y="4596875"/>
                </a:lnTo>
                <a:lnTo>
                  <a:pt x="3806603" y="4586081"/>
                </a:lnTo>
                <a:lnTo>
                  <a:pt x="3797789" y="4577086"/>
                </a:lnTo>
                <a:lnTo>
                  <a:pt x="3774873" y="4584282"/>
                </a:lnTo>
                <a:lnTo>
                  <a:pt x="3764297" y="4589679"/>
                </a:lnTo>
                <a:lnTo>
                  <a:pt x="3755483" y="4595076"/>
                </a:lnTo>
                <a:lnTo>
                  <a:pt x="3748431" y="4602272"/>
                </a:lnTo>
                <a:lnTo>
                  <a:pt x="3741380" y="4609468"/>
                </a:lnTo>
                <a:lnTo>
                  <a:pt x="3736092" y="4618463"/>
                </a:lnTo>
                <a:lnTo>
                  <a:pt x="3732566" y="4627458"/>
                </a:lnTo>
                <a:lnTo>
                  <a:pt x="3714939" y="4609468"/>
                </a:lnTo>
                <a:lnTo>
                  <a:pt x="3695548" y="4593277"/>
                </a:lnTo>
                <a:lnTo>
                  <a:pt x="3672632" y="4580684"/>
                </a:lnTo>
                <a:lnTo>
                  <a:pt x="3660293" y="4575287"/>
                </a:lnTo>
                <a:lnTo>
                  <a:pt x="3647953" y="4571689"/>
                </a:lnTo>
                <a:lnTo>
                  <a:pt x="3630325" y="4568091"/>
                </a:lnTo>
                <a:lnTo>
                  <a:pt x="3614460" y="4564493"/>
                </a:lnTo>
                <a:lnTo>
                  <a:pt x="3598595" y="4562694"/>
                </a:lnTo>
                <a:lnTo>
                  <a:pt x="3582730" y="4562694"/>
                </a:lnTo>
                <a:lnTo>
                  <a:pt x="3566865" y="4564493"/>
                </a:lnTo>
                <a:lnTo>
                  <a:pt x="3552763" y="4566292"/>
                </a:lnTo>
                <a:lnTo>
                  <a:pt x="3538661" y="4569890"/>
                </a:lnTo>
                <a:lnTo>
                  <a:pt x="3524558" y="4573488"/>
                </a:lnTo>
                <a:lnTo>
                  <a:pt x="3510456" y="4578885"/>
                </a:lnTo>
                <a:lnTo>
                  <a:pt x="3498117" y="4584282"/>
                </a:lnTo>
                <a:lnTo>
                  <a:pt x="3475201" y="4598674"/>
                </a:lnTo>
                <a:lnTo>
                  <a:pt x="3455810" y="4616664"/>
                </a:lnTo>
                <a:lnTo>
                  <a:pt x="3438182" y="4636453"/>
                </a:lnTo>
                <a:lnTo>
                  <a:pt x="3441708" y="4641850"/>
                </a:lnTo>
                <a:lnTo>
                  <a:pt x="3450522" y="4650844"/>
                </a:lnTo>
                <a:lnTo>
                  <a:pt x="3457573" y="4658040"/>
                </a:lnTo>
                <a:lnTo>
                  <a:pt x="3466387" y="4663437"/>
                </a:lnTo>
                <a:lnTo>
                  <a:pt x="3476963" y="4670633"/>
                </a:lnTo>
                <a:lnTo>
                  <a:pt x="3489303" y="4676030"/>
                </a:lnTo>
                <a:lnTo>
                  <a:pt x="3480489" y="4685025"/>
                </a:lnTo>
                <a:lnTo>
                  <a:pt x="3473438" y="4697618"/>
                </a:lnTo>
                <a:lnTo>
                  <a:pt x="3466387" y="4708412"/>
                </a:lnTo>
                <a:lnTo>
                  <a:pt x="3461098" y="4721005"/>
                </a:lnTo>
                <a:lnTo>
                  <a:pt x="3157900" y="4804657"/>
                </a:lnTo>
                <a:lnTo>
                  <a:pt x="2812395" y="4901803"/>
                </a:lnTo>
                <a:lnTo>
                  <a:pt x="2421058" y="5016937"/>
                </a:lnTo>
                <a:lnTo>
                  <a:pt x="1982126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865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4" name="Tijdelijke aanduiding voor inhoud 2">
            <a:extLst>
              <a:ext uri="{FF2B5EF4-FFF2-40B4-BE49-F238E27FC236}">
                <a16:creationId xmlns:a16="http://schemas.microsoft.com/office/drawing/2014/main" id="{E5BD2942-2D6D-4D61-8299-158261CA829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58401" y="1640081"/>
            <a:ext cx="4577025" cy="1569660"/>
          </a:xfrm>
        </p:spPr>
        <p:txBody>
          <a:bodyPr wrap="square"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nl-NL"/>
              <a:t>Click to edit Master text styles</a:t>
            </a:r>
          </a:p>
          <a:p>
            <a:pPr lvl="1"/>
            <a:r>
              <a:rPr lang="en-US" altLang="nl-NL"/>
              <a:t>Second level</a:t>
            </a:r>
          </a:p>
          <a:p>
            <a:pPr lvl="2"/>
            <a:r>
              <a:rPr lang="en-US" altLang="nl-NL"/>
              <a:t>Third level</a:t>
            </a:r>
          </a:p>
          <a:p>
            <a:pPr lvl="3"/>
            <a:r>
              <a:rPr lang="en-US" altLang="nl-NL"/>
              <a:t>Fourth level</a:t>
            </a:r>
          </a:p>
          <a:p>
            <a:pPr lvl="4"/>
            <a:r>
              <a:rPr lang="en-US" altLang="nl-NL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FE2B22-4E84-4C31-BCCA-F0E56DF62FC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7403" y="364975"/>
            <a:ext cx="4577025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Add Title</a:t>
            </a:r>
          </a:p>
        </p:txBody>
      </p:sp>
      <p:sp>
        <p:nvSpPr>
          <p:cNvPr id="25" name="Tijdelijke aanduiding voor dianummer 4">
            <a:extLst>
              <a:ext uri="{FF2B5EF4-FFF2-40B4-BE49-F238E27FC236}">
                <a16:creationId xmlns:a16="http://schemas.microsoft.com/office/drawing/2014/main" id="{0E6C3D4C-1A93-4E42-9AF3-24F8B47CB47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757599" y="6280425"/>
            <a:ext cx="1587501" cy="184494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altLang="nl-NL"/>
              <a:t>Page </a:t>
            </a:r>
            <a:fld id="{1819A7CB-B175-4DED-A0F5-C4E40DE17C1C}" type="slidenum">
              <a:rPr lang="en-US" altLang="nl-NL" smtClean="0"/>
              <a:pPr/>
              <a:t>‹#›</a:t>
            </a:fld>
            <a:endParaRPr lang="en-US" altLang="nl-NL"/>
          </a:p>
        </p:txBody>
      </p:sp>
      <p:pic>
        <p:nvPicPr>
          <p:cNvPr id="24" name="Afbeelding 6">
            <a:extLst>
              <a:ext uri="{FF2B5EF4-FFF2-40B4-BE49-F238E27FC236}">
                <a16:creationId xmlns:a16="http://schemas.microsoft.com/office/drawing/2014/main" id="{04463FA0-69EE-4082-AC99-8EF19C4EF5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3575" y="5769464"/>
            <a:ext cx="3908426" cy="10885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2999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ue /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67152" y="1225974"/>
            <a:ext cx="10615250" cy="1845805"/>
          </a:xfrm>
        </p:spPr>
        <p:txBody>
          <a:bodyPr/>
          <a:lstStyle>
            <a:lvl1pPr>
              <a:spcAft>
                <a:spcPts val="400"/>
              </a:spcAft>
              <a:defRPr sz="2133"/>
            </a:lvl1pPr>
            <a:lvl2pPr>
              <a:spcAft>
                <a:spcPts val="400"/>
              </a:spcAft>
              <a:defRPr sz="2133"/>
            </a:lvl2pPr>
            <a:lvl3pPr>
              <a:spcAft>
                <a:spcPts val="400"/>
              </a:spcAft>
              <a:defRPr sz="2133"/>
            </a:lvl3pPr>
            <a:lvl4pPr>
              <a:spcAft>
                <a:spcPts val="400"/>
              </a:spcAft>
              <a:defRPr sz="2133"/>
            </a:lvl4pPr>
            <a:lvl5pPr>
              <a:spcAft>
                <a:spcPts val="400"/>
              </a:spcAft>
              <a:defRPr sz="2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937FF68-B3A3-4339-95A1-15921F25311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845447-73FA-4438-85E4-EE22DCF37A8A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6115537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71663B-4653-4F22-B4EE-1E3D4F3CED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57403" y="364975"/>
            <a:ext cx="10685760" cy="443198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2D6185-62F9-4D47-AF53-2FDBD79ED2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7999" y="1800000"/>
            <a:ext cx="11262666" cy="15696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76DA8EB-9E28-4A59-A98D-82DCB242C0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C6A33B-6993-4806-83F6-98FBCF9251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83E8A4-0557-4582-9C0D-0BAF572BC0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0B9CDA-52FD-4793-B044-95536CECA3E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901097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/ column /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72C9C42-45C3-4E44-AA77-EA1F9994E70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6"/>
          <a:ext cx="2117" cy="2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97" name="think-cell Slide" r:id="rId5" imgW="485" imgH="500" progId="TCLayout.ActiveDocument.1">
                  <p:embed/>
                </p:oleObj>
              </mc:Choice>
              <mc:Fallback>
                <p:oleObj name="think-cell Slide" r:id="rId5" imgW="485" imgH="5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72C9C42-45C3-4E44-AA77-EA1F9994E70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6"/>
                        <a:ext cx="2117" cy="2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A3758E5-C531-4F38-A46A-D969FA176FB4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auto">
          <a:xfrm>
            <a:off x="2" y="2"/>
            <a:ext cx="87" cy="36899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1218072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730" b="0" i="1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Franklin Gothic Heavy" panose="020B0903020102020204" pitchFamily="34" charset="0"/>
              <a:ea typeface="+mj-ea"/>
              <a:cs typeface="+mj-cs"/>
              <a:sym typeface="Franklin Gothic Heavy" panose="020B0903020102020204" pitchFamily="34" charset="0"/>
            </a:endParaRPr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 hasCustomPrompt="1"/>
          </p:nvPr>
        </p:nvSpPr>
        <p:spPr>
          <a:xfrm>
            <a:off x="758401" y="1638891"/>
            <a:ext cx="10684763" cy="1569660"/>
          </a:xfrm>
        </p:spPr>
        <p:txBody>
          <a:bodyPr>
            <a:sp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nl-NL"/>
              <a:t>Click to edit Master text styles</a:t>
            </a:r>
          </a:p>
          <a:p>
            <a:pPr lvl="1"/>
            <a:r>
              <a:rPr lang="en-US" altLang="nl-NL"/>
              <a:t>Second level</a:t>
            </a:r>
          </a:p>
          <a:p>
            <a:pPr lvl="2"/>
            <a:r>
              <a:rPr lang="en-US" altLang="nl-NL"/>
              <a:t>Third level</a:t>
            </a:r>
          </a:p>
          <a:p>
            <a:pPr lvl="3"/>
            <a:r>
              <a:rPr lang="en-US" altLang="nl-NL"/>
              <a:t>Fourth level</a:t>
            </a:r>
          </a:p>
          <a:p>
            <a:pPr lvl="4"/>
            <a:r>
              <a:rPr lang="en-US" altLang="nl-NL"/>
              <a:t>Fifth level</a:t>
            </a:r>
          </a:p>
        </p:txBody>
      </p:sp>
      <p:sp>
        <p:nvSpPr>
          <p:cNvPr id="5" name="Tijdelijke aanduiding voor dianummer 4"/>
          <p:cNvSpPr>
            <a:spLocks noGrp="1"/>
          </p:cNvSpPr>
          <p:nvPr>
            <p:ph type="sldNum" sz="quarter" idx="11"/>
          </p:nvPr>
        </p:nvSpPr>
        <p:spPr>
          <a:xfrm>
            <a:off x="468000" y="6339600"/>
            <a:ext cx="451163" cy="369332"/>
          </a:xfrm>
        </p:spPr>
        <p:txBody>
          <a:bodyPr/>
          <a:lstStyle>
            <a:lvl1pPr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altLang="nl-NL"/>
              <a:t>Page </a:t>
            </a:r>
            <a:fld id="{1819A7CB-B175-4DED-A0F5-C4E40DE17C1C}" type="slidenum">
              <a:rPr lang="en-US" altLang="nl-NL" smtClean="0"/>
              <a:pPr/>
              <a:t>‹#›</a:t>
            </a:fld>
            <a:endParaRPr lang="en-US" altLang="nl-NL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75DD4D4-6DE0-485F-B8A2-B30325A05AB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</a:t>
            </a:r>
            <a:r>
              <a:rPr lang="en-US" altLang="nl-NL"/>
              <a:t>Add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0565966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21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Fira Sans Regular" panose="020B05030500000200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070149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8944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latin typeface="Fira Sans" panose="020B05030500000200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3130272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AC5D8D-FBCE-4757-9505-AD957A1EE5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B053D01-934E-4F53-98F5-F9451308B7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8224F9-78A0-44A4-B153-44F2C809BD5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786275B-D2BE-477E-A70F-9660B31450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00AE81-AD30-431A-9FC8-5244D98EE8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195045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923B2D-17FE-4844-A366-9ECDF43EC1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5F25BB-2BFD-4027-9723-8BED462C94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9AF0AE-8F0B-49EE-AF1D-3DF229138E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95A87C-88F0-40BE-B0A2-93EADCAC50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1EF9D9-41B3-4594-81E2-7E847A7626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98958212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193F8-154A-4589-8EA4-3C77FC4E3E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BC54C80-EF34-4D25-BE07-F871EE5841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D40955-0B3C-486D-8174-6178DF6BF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C9773C-18C9-4F4E-8B15-9C995CB561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5D3FAA-3B25-412C-9BB2-BC31EB2E4C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016428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EB00A7-7B11-41C8-A1A1-CCC496586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CC486B-25C0-4108-AA62-86147266CDC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612DE00-6CDC-4EF6-B5D1-191410D4BB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C1B4ABA-6943-4C9E-8908-6BD604CE75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C73F02-636A-444D-BC01-3DDF8063FE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A169992-78E4-4E4D-BCBF-D333D6D16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0866594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3DC810-6AD4-4E09-B50C-68BB3BDF5D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5F32CB6-9931-40C1-93A4-E71C7D7037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0E0365F-A896-43C9-AB14-78983039E0F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660C90E-4139-463F-9FC0-24D8CA4119C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314C593-61F5-4F5C-BCBC-99238A5C5C3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F33F8F1-1500-413F-8F50-CAA6E56F4F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C5A62D5-E19C-4051-9563-36EF2C3931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14A0091-828D-4635-8C8C-7484DE7969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783430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D7E50A-AEF3-499A-91D6-D3C7BD1E8E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F8B734-ADD8-44EF-A9AA-D17E8E0BA7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0B7674F-2649-4691-8325-103A37D4FB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6638EEE-663C-4B3A-8D3D-33C15AD7C9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5019976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34FB21B-85F5-4A50-BBEF-C05A56F3FB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EB52B8-30A6-44D7-90A0-B24EC27A87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60D3048-7F76-47BA-987C-C90592B913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1995311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830C6-C889-4400-84B0-47AF6E5F1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7ED191-C298-4194-822A-B5079BEBC3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A437CE-E353-4229-9F56-8C9390D505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022ADE-47C5-489F-88D4-FE8FB292C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AECE8-5B63-476B-950A-13C10A160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1726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F24D72-8E62-42E5-AD7F-C8E0DC75E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CD203D-4BAD-4FC6-9CEE-A279EDEB6D4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7DB48F0-D64F-4AD9-8C14-1B10BC4944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B69C24D-59A3-45D3-B791-48AF93646B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7E349A6-52E4-4C29-B282-45BD99666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EC775E-F707-464E-9136-F5110AD1D2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225742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D9D627-CF94-495A-883A-E1B9205E5F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44BEDA7-8FD9-45DC-B3A5-F20AC1C8F70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hu-H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B02E7B-5BB4-4574-AF68-D0AA0C1017C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E6BD3C2-3D93-48F8-9FF0-C5BFC50BC4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1ECA9F-DC92-4EE9-8EC0-EDA46ADB35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F1D51FC-F354-42A8-B79F-139DB3C945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7496270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43AE5C-539B-45B9-A590-F25C12574F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3EAF5393-B78E-4DDA-87B3-7BAE63F0846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799A18-57BC-4E4B-9EF8-6C436C776F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3EB3621-565A-4AB5-918F-7BA582F6966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A7E9DF-DC42-4AFD-85CC-BB3A5CDAD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6145060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7735B6C-C0F4-4DE4-AC22-70C4ED0D31C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76A3A24-4697-4D1F-9EA5-45002F3468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B3A5278-B667-48E2-B366-94FB631E15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5FC4DA5-4093-4407-91C8-3D254B89DA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444B11-6468-4E95-ACBA-F682C83CC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2353977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62567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03AC79-C5BC-47C4-BE09-93769D099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D8A6B18-6BCC-43D0-9936-BD3BE44D28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841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1FE3D0-05F6-46C1-A5EA-B2DE3515B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25445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7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1FE3D0-05F6-46C1-A5EA-B2DE3515B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48407E-796A-40CA-AB97-FD69035658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7C9C340-AD27-5841-BF8F-0CE7DDB2F1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4800" y="-1990"/>
            <a:ext cx="12196800" cy="6859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758033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0 w 12195175"/>
              <a:gd name="connsiteY3" fmla="*/ 6858000 h 6858000"/>
              <a:gd name="connsiteX4" fmla="*/ 0 w 12195175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10023475 w 12195175"/>
              <a:gd name="connsiteY4" fmla="*/ 53213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9925 w 12195175"/>
              <a:gd name="connsiteY6" fmla="*/ 52451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0 w 12195175"/>
              <a:gd name="connsiteY10" fmla="*/ 6858000 h 6858000"/>
              <a:gd name="connsiteX11" fmla="*/ 0 w 12195175"/>
              <a:gd name="connsiteY11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408277 w 12195175"/>
              <a:gd name="connsiteY6" fmla="*/ 4706327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166225 w 12195175"/>
              <a:gd name="connsiteY6" fmla="*/ 5076825 h 6867485"/>
              <a:gd name="connsiteX7" fmla="*/ 8639175 w 12195175"/>
              <a:gd name="connsiteY7" fmla="*/ 5302250 h 6867485"/>
              <a:gd name="connsiteX8" fmla="*/ 8791575 w 12195175"/>
              <a:gd name="connsiteY8" fmla="*/ 5426075 h 6867485"/>
              <a:gd name="connsiteX9" fmla="*/ 8709025 w 12195175"/>
              <a:gd name="connsiteY9" fmla="*/ 5559425 h 6867485"/>
              <a:gd name="connsiteX10" fmla="*/ 6647422 w 12195175"/>
              <a:gd name="connsiteY10" fmla="*/ 6120030 h 6867485"/>
              <a:gd name="connsiteX11" fmla="*/ 4105315 w 12195175"/>
              <a:gd name="connsiteY11" fmla="*/ 6867485 h 6867485"/>
              <a:gd name="connsiteX12" fmla="*/ 0 w 12195175"/>
              <a:gd name="connsiteY12" fmla="*/ 6858000 h 6867485"/>
              <a:gd name="connsiteX13" fmla="*/ 0 w 12195175"/>
              <a:gd name="connsiteY13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166225 w 12195175"/>
              <a:gd name="connsiteY5" fmla="*/ 5076825 h 6867485"/>
              <a:gd name="connsiteX6" fmla="*/ 8639175 w 12195175"/>
              <a:gd name="connsiteY6" fmla="*/ 5302250 h 6867485"/>
              <a:gd name="connsiteX7" fmla="*/ 8791575 w 12195175"/>
              <a:gd name="connsiteY7" fmla="*/ 5426075 h 6867485"/>
              <a:gd name="connsiteX8" fmla="*/ 8709025 w 12195175"/>
              <a:gd name="connsiteY8" fmla="*/ 5559425 h 6867485"/>
              <a:gd name="connsiteX9" fmla="*/ 6647422 w 12195175"/>
              <a:gd name="connsiteY9" fmla="*/ 612003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639175 w 12195175"/>
              <a:gd name="connsiteY5" fmla="*/ 5302250 h 6867485"/>
              <a:gd name="connsiteX6" fmla="*/ 8791575 w 12195175"/>
              <a:gd name="connsiteY6" fmla="*/ 5426075 h 6867485"/>
              <a:gd name="connsiteX7" fmla="*/ 8709025 w 12195175"/>
              <a:gd name="connsiteY7" fmla="*/ 5559425 h 6867485"/>
              <a:gd name="connsiteX8" fmla="*/ 6647422 w 12195175"/>
              <a:gd name="connsiteY8" fmla="*/ 612003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91575 w 12195175"/>
              <a:gd name="connsiteY5" fmla="*/ 5426075 h 6867485"/>
              <a:gd name="connsiteX6" fmla="*/ 8709025 w 12195175"/>
              <a:gd name="connsiteY6" fmla="*/ 5559425 h 6867485"/>
              <a:gd name="connsiteX7" fmla="*/ 6647422 w 12195175"/>
              <a:gd name="connsiteY7" fmla="*/ 612003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09025 w 12195175"/>
              <a:gd name="connsiteY5" fmla="*/ 5559425 h 6867485"/>
              <a:gd name="connsiteX6" fmla="*/ 6647422 w 12195175"/>
              <a:gd name="connsiteY6" fmla="*/ 612003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48929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35144 w 12195175"/>
              <a:gd name="connsiteY4" fmla="*/ 514898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5234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8919012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52344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880917 w 12195175"/>
              <a:gd name="connsiteY7" fmla="*/ 54229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503142 w 12195175"/>
              <a:gd name="connsiteY7" fmla="*/ 50673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131716 w 12195175"/>
              <a:gd name="connsiteY8" fmla="*/ 5457825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322191 w 12195175"/>
              <a:gd name="connsiteY9" fmla="*/ 5534025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07811 h 6858000"/>
              <a:gd name="connsiteX3" fmla="*/ 10768730 w 12195175"/>
              <a:gd name="connsiteY3" fmla="*/ 4999470 h 6858000"/>
              <a:gd name="connsiteX4" fmla="*/ 9312059 w 12195175"/>
              <a:gd name="connsiteY4" fmla="*/ 5344969 h 6858000"/>
              <a:gd name="connsiteX5" fmla="*/ 9254575 w 12195175"/>
              <a:gd name="connsiteY5" fmla="*/ 5234955 h 6858000"/>
              <a:gd name="connsiteX6" fmla="*/ 9090439 w 12195175"/>
              <a:gd name="connsiteY6" fmla="*/ 5356225 h 6858000"/>
              <a:gd name="connsiteX7" fmla="*/ 8369810 w 12195175"/>
              <a:gd name="connsiteY7" fmla="*/ 5378450 h 6858000"/>
              <a:gd name="connsiteX8" fmla="*/ 8493618 w 12195175"/>
              <a:gd name="connsiteY8" fmla="*/ 5473700 h 6858000"/>
              <a:gd name="connsiteX9" fmla="*/ 8436476 w 12195175"/>
              <a:gd name="connsiteY9" fmla="*/ 5556250 h 6858000"/>
              <a:gd name="connsiteX10" fmla="*/ 3191037 w 12195175"/>
              <a:gd name="connsiteY10" fmla="*/ 6642632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5175" h="6859990">
                <a:moveTo>
                  <a:pt x="0" y="0"/>
                </a:moveTo>
                <a:lnTo>
                  <a:pt x="12192000" y="0"/>
                </a:lnTo>
                <a:cubicBezTo>
                  <a:pt x="12193058" y="1588128"/>
                  <a:pt x="12194117" y="3119683"/>
                  <a:pt x="12195175" y="4707811"/>
                </a:cubicBezTo>
                <a:cubicBezTo>
                  <a:pt x="11709400" y="4788675"/>
                  <a:pt x="11441520" y="4853951"/>
                  <a:pt x="10768730" y="4999470"/>
                </a:cubicBezTo>
                <a:lnTo>
                  <a:pt x="9312059" y="5344969"/>
                </a:lnTo>
                <a:cubicBezTo>
                  <a:pt x="9297337" y="5292270"/>
                  <a:pt x="9292097" y="5275532"/>
                  <a:pt x="9254575" y="5234955"/>
                </a:cubicBezTo>
                <a:cubicBezTo>
                  <a:pt x="9182717" y="5248473"/>
                  <a:pt x="9110561" y="5300037"/>
                  <a:pt x="9090439" y="5356225"/>
                </a:cubicBezTo>
                <a:cubicBezTo>
                  <a:pt x="9018639" y="5285949"/>
                  <a:pt x="8708605" y="5037673"/>
                  <a:pt x="8369810" y="5378450"/>
                </a:cubicBezTo>
                <a:cubicBezTo>
                  <a:pt x="8429069" y="5436658"/>
                  <a:pt x="8426595" y="5447778"/>
                  <a:pt x="8493618" y="5473700"/>
                </a:cubicBezTo>
                <a:cubicBezTo>
                  <a:pt x="8485682" y="5499629"/>
                  <a:pt x="8472628" y="5489053"/>
                  <a:pt x="8436476" y="5556250"/>
                </a:cubicBezTo>
                <a:cubicBezTo>
                  <a:pt x="7470174" y="5798073"/>
                  <a:pt x="5874545" y="6234593"/>
                  <a:pt x="3910469" y="685999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tIns="144000" rIns="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63EA9692-0ED5-484D-87E7-AB6028AFB4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 presenter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97063" y="4644811"/>
            <a:ext cx="9694937" cy="22131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4F6EAFA9-6F43-6C47-B02C-42F4DA83E1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83503188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330FEF9-13C6-49AD-BADC-B222739050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9316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330FEF9-13C6-49AD-BADC-B222739050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6CC9449-DAE9-4B33-8F63-09E10883EDE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AB7205D-F54E-6745-9EB7-B1839964D81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auto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out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auto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F87B3A-229C-F140-8380-D91564A36F0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 bwMode="auto">
          <a:xfrm>
            <a:off x="540000" y="6048369"/>
            <a:ext cx="2949512" cy="13904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21CBB47-F02A-2346-8EA8-8352E7AFC2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97063" y="4644811"/>
            <a:ext cx="9694937" cy="2213189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28F039EC-ED76-4766-8537-03B353F231B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Name presenter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A5DA9896-9655-46F6-A88D-087362D557D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7378506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60294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52539A8-3270-4B01-8144-98B9A7185D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Sub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46C7AD5-0DD3-406F-ACB9-ACABB0D58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Divider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12DA6DC-0102-4FB2-A547-D52FC941F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9A730C8-66A5-4822-B3D3-B4581797F3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3679357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1AB7205D-F54E-6745-9EB7-B1839964D81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 bwMode="ltGray">
          <a:xfrm>
            <a:off x="0" y="1"/>
            <a:ext cx="12192000" cy="68580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08EBEAFB-93C3-074C-9906-1D124DCCA6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9923" y="3190484"/>
            <a:ext cx="5612156" cy="47703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5E17CF1-21EE-4F02-912D-E11EFDC99D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0651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sub header,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5430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4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4A1EC-5405-41F8-8513-97687168C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FB00B4-33CE-494A-BB67-30294EE0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1AC2AB-79C7-44D8-A2D9-1231C29DC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FBFBD3E-297D-4BC3-94BA-F7DADB32AC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8652482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595A89-2E7A-4BA1-B0E0-1C033A993C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4412C1-068A-40DA-B9FD-8FDE11D22D3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7D40BB3-C82F-4831-8A2E-683D015E22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6883C67-712D-4245-84DA-DF56D7CB56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4EB930-F9F5-4AF2-B965-F5EA7DA129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26532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19551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7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C21C4-5401-4164-91BA-DC24D7BB1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EE1A1E3-31FD-4EA7-BCB2-F721C7ECF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95059141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61774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9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674312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674312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53C0BAD-6501-432C-BDEE-DDD9D0A4F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4C2CD50-5B04-4D3D-BA05-74D0E97B10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34415334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04443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1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912086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4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5108185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urpl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>
              <a:latin typeface="Fira Sans Regular" panose="020B05030500000200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noProof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16551782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Content Slide 1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5E6CAF7-AA7B-48CD-A4C0-07C7BA0B98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FA08D57-1059-4625-84A3-FC9B186C1A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4192216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830C6-C889-4400-84B0-47AF6E5F19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37ED191-C298-4194-822A-B5079BEBC3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9A437CE-E353-4229-9F56-8C9390D505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022ADE-47C5-489F-88D4-FE8FB292C4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6AECE8-5B63-476B-950A-13C10A160C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15141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DSM_cover_blue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" y="0"/>
            <a:ext cx="12206817" cy="686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21166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61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5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6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Box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63113" y="2565400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8" name="Text Box 18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963113" y="2846388"/>
            <a:ext cx="18473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altLang="en-US" sz="1800">
              <a:solidFill>
                <a:srgbClr val="FFFFFF"/>
              </a:solidFill>
            </a:endParaRPr>
          </a:p>
        </p:txBody>
      </p:sp>
      <p:sp>
        <p:nvSpPr>
          <p:cNvPr id="10" name="TextBox 9"/>
          <p:cNvSpPr txBox="1"/>
          <p:nvPr userDrawn="1">
            <p:custDataLst>
              <p:tags r:id="rId5"/>
            </p:custDataLst>
          </p:nvPr>
        </p:nvSpPr>
        <p:spPr>
          <a:xfrm>
            <a:off x="29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11" name="hl"/>
          <p:cNvSpPr txBox="1"/>
          <p:nvPr userDrawn="1"/>
        </p:nvSpPr>
        <p:spPr>
          <a:xfrm>
            <a:off x="0" y="0"/>
            <a:ext cx="12192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endParaRPr lang="en-US" sz="850" b="0" i="0" u="none" baseline="0">
              <a:solidFill>
                <a:srgbClr val="5F5F5F"/>
              </a:solidFill>
              <a:latin typeface="trebuchet ms"/>
            </a:endParaRPr>
          </a:p>
        </p:txBody>
      </p:sp>
    </p:spTree>
    <p:extLst>
      <p:ext uri="{BB962C8B-B14F-4D97-AF65-F5344CB8AC3E}">
        <p14:creationId xmlns:p14="http://schemas.microsoft.com/office/powerpoint/2010/main" val="5176142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56736" y="779997"/>
            <a:ext cx="8629650" cy="467820"/>
          </a:xfrm>
        </p:spPr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D623D0F-5353-437A-A3C1-D73D4D1AE50F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394319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42"/>
            <a:ext cx="10363200" cy="1169551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4099165"/>
            <a:ext cx="103632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729A42E-2DBF-4561-A192-B9D22285D4D9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59997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BEE05FC-52F2-4689-B821-87924CC2F6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FB8104-D0B0-4B4B-8F8F-F5B4F67FD01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B23236A-F1B9-41FC-AA00-5172E001453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F643FA5-2A6F-4E59-8608-456F09896A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D7F4B80-02C3-486F-9EED-3B78298E8F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135F5A-7FB4-4A68-B630-C61389C144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2288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56736" y="779997"/>
            <a:ext cx="8629650" cy="467820"/>
          </a:xfrm>
        </p:spPr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982134" y="1773238"/>
            <a:ext cx="4201584" cy="209288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386922" y="1773238"/>
            <a:ext cx="4201583" cy="209288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B8CCA5B-058A-4E86-BD11-ECB44B68E846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8215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949818"/>
            <a:ext cx="10972800" cy="467820"/>
          </a:xfrm>
        </p:spPr>
        <p:txBody>
          <a:bodyPr/>
          <a:lstStyle>
            <a:lvl1pPr>
              <a:defRPr/>
            </a:lvl1pPr>
          </a:lstStyle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805543"/>
            <a:ext cx="5386917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72" y="1805543"/>
            <a:ext cx="5389034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4" cy="14465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C4BD841-723D-493C-AC9F-0CF877D555D9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5965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56736" y="779997"/>
            <a:ext cx="8629650" cy="467820"/>
          </a:xfrm>
        </p:spPr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DB1D280-E40F-4DDB-800B-666D009D2569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90126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E047163-B409-4268-B619-38C4B46229D5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38518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850367"/>
            <a:ext cx="4011084" cy="584775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6" y="273092"/>
            <a:ext cx="6815666" cy="190821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0" y="1435100"/>
            <a:ext cx="4011084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984FA0B-0598-4A19-AC1F-262FF74A4B97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16582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5074950"/>
            <a:ext cx="7315200" cy="29238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8"/>
            <a:ext cx="73152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E6C53DA-032F-44E7-BD7E-13B3C5C0FA87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077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56736" y="779997"/>
            <a:ext cx="8629650" cy="467820"/>
          </a:xfrm>
        </p:spPr>
        <p:txBody>
          <a:bodyPr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-660450" y="1773280"/>
            <a:ext cx="10248960" cy="1373187"/>
          </a:xfrm>
        </p:spPr>
        <p:txBody>
          <a:bodyPr vert="eaVert"/>
          <a:lstStyle/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CF80C77-DEAF-459C-87FD-A0AD045CEBF3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492189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431617" y="784225"/>
            <a:ext cx="1871282" cy="2362200"/>
          </a:xfrm>
        </p:spPr>
        <p:txBody>
          <a:bodyPr vert="eaVert"/>
          <a:lstStyle/>
          <a:p>
            <a:r>
              <a:rPr lang="en-US" err="1"/>
              <a:t>Titelmasterformat</a:t>
            </a:r>
            <a:r>
              <a:rPr lang="en-US"/>
              <a:t> </a:t>
            </a:r>
            <a:r>
              <a:rPr lang="en-US" err="1"/>
              <a:t>durch</a:t>
            </a:r>
            <a:r>
              <a:rPr lang="en-US"/>
              <a:t> </a:t>
            </a:r>
            <a:r>
              <a:rPr lang="en-US" err="1"/>
              <a:t>Klicken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3627431" y="784225"/>
            <a:ext cx="3600986" cy="2362200"/>
          </a:xfrm>
        </p:spPr>
        <p:txBody>
          <a:bodyPr vert="eaVert"/>
          <a:lstStyle/>
          <a:p>
            <a:pPr lvl="0"/>
            <a:r>
              <a:rPr lang="en-US" err="1"/>
              <a:t>Textmasterformat</a:t>
            </a:r>
            <a:r>
              <a:rPr lang="en-US"/>
              <a:t> </a:t>
            </a:r>
            <a:r>
              <a:rPr lang="en-US" err="1"/>
              <a:t>bearbeiten</a:t>
            </a:r>
            <a:endParaRPr lang="en-US"/>
          </a:p>
          <a:p>
            <a:pPr lvl="1"/>
            <a:r>
              <a:rPr lang="en-US" err="1"/>
              <a:t>Zwei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2"/>
            <a:r>
              <a:rPr lang="en-US" err="1"/>
              <a:t>Drit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3"/>
            <a:r>
              <a:rPr lang="en-US" err="1"/>
              <a:t>Vier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  <a:p>
            <a:pPr lvl="4"/>
            <a:r>
              <a:rPr lang="en-US" err="1"/>
              <a:t>Fünfte</a:t>
            </a:r>
            <a:r>
              <a:rPr lang="en-US"/>
              <a:t> </a:t>
            </a:r>
            <a:r>
              <a:rPr lang="en-US" err="1"/>
              <a:t>Ebene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2999644-5F93-490C-9E0F-F95CF3110141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0322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2860731"/>
              </p:ext>
            </p:extLst>
          </p:nvPr>
        </p:nvGraphicFramePr>
        <p:xfrm>
          <a:off x="2119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70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06"/>
            <a:ext cx="109728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206968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0" descr="DSM_cover_multi2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6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21166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3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6" name="Rectangle 8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6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15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969434" y="2176505"/>
            <a:ext cx="8534400" cy="1846659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eaLnBrk="1" hangingPunct="1"/>
            <a:r>
              <a:rPr lang="en-US" altLang="zh-CN" sz="3600" b="1">
                <a:latin typeface="Arial" pitchFamily="34" charset="0"/>
                <a:cs typeface="Arial" pitchFamily="34" charset="0"/>
              </a:rPr>
              <a:t>Monthly Business Review</a:t>
            </a:r>
          </a:p>
          <a:p>
            <a:pPr eaLnBrk="1" hangingPunct="1"/>
            <a:endParaRPr lang="en-US" altLang="zh-CN" sz="2800" b="1">
              <a:latin typeface="Arial" pitchFamily="34" charset="0"/>
              <a:cs typeface="Arial" pitchFamily="34" charset="0"/>
            </a:endParaRPr>
          </a:p>
          <a:p>
            <a:pPr eaLnBrk="1" hangingPunct="1"/>
            <a:r>
              <a:rPr lang="en-US" altLang="zh-CN" sz="2800" b="1">
                <a:latin typeface="Arial" pitchFamily="34" charset="0"/>
                <a:cs typeface="Arial" pitchFamily="34" charset="0"/>
              </a:rPr>
              <a:t>DSM </a:t>
            </a:r>
            <a:r>
              <a:rPr lang="en-US" altLang="zh-CN" sz="2800" b="1" err="1">
                <a:latin typeface="Arial" pitchFamily="34" charset="0"/>
                <a:cs typeface="Arial" pitchFamily="34" charset="0"/>
              </a:rPr>
              <a:t>Jiangshan</a:t>
            </a:r>
            <a:r>
              <a:rPr lang="en-US" altLang="zh-CN" sz="2800" b="1">
                <a:latin typeface="Arial" pitchFamily="34" charset="0"/>
                <a:cs typeface="Arial" pitchFamily="34" charset="0"/>
              </a:rPr>
              <a:t> Site</a:t>
            </a:r>
          </a:p>
          <a:p>
            <a:pPr eaLnBrk="1" hangingPunct="1"/>
            <a:r>
              <a:rPr lang="en-US" altLang="zh-CN" sz="2800" b="1">
                <a:latin typeface="Arial" pitchFamily="34" charset="0"/>
                <a:cs typeface="Arial" pitchFamily="34" charset="0"/>
              </a:rPr>
              <a:t>April, 2015</a:t>
            </a:r>
            <a:endParaRPr lang="zh-CN" altLang="en-US" sz="2800" b="1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139229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8DDAFB-AA72-4014-B5A2-919B8EEB1B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79288CB-E93F-46C0-BE3D-3BF5554CB76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14F8387-275B-44B3-A52D-8CA22A69442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6FD28CA-D0F9-49A2-B79B-628A44F4EE7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A8CEC246-101F-4B2B-A987-676021EED62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3B10578-5E35-4E53-A21F-9D11BD0D15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B07276D-3428-4B71-B653-2ACC37282F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08EB7DB-571F-4D24-9B73-9A7AD09A42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246149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CH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540934" y="6499225"/>
            <a:ext cx="1270000" cy="152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FC8B40-A6AF-4DBF-BBCC-4048FBE937E1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3205280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540934" y="6499225"/>
            <a:ext cx="1270000" cy="1524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A6952B8-1403-4A24-8E7D-172A27A6AA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620072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8944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57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6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4" y="1800225"/>
            <a:ext cx="11258863" cy="156966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1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1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75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40811800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1FE3D0-05F6-46C1-A5EA-B2DE3515B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0776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99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1FE3D0-05F6-46C1-A5EA-B2DE3515B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48407E-796A-40CA-AB97-FD69035658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7C9C340-AD27-5841-BF8F-0CE7DDB2F1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4800" y="-1990"/>
            <a:ext cx="12196800" cy="6859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758033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0 w 12195175"/>
              <a:gd name="connsiteY3" fmla="*/ 6858000 h 6858000"/>
              <a:gd name="connsiteX4" fmla="*/ 0 w 12195175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10023475 w 12195175"/>
              <a:gd name="connsiteY4" fmla="*/ 53213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9925 w 12195175"/>
              <a:gd name="connsiteY6" fmla="*/ 52451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0 w 12195175"/>
              <a:gd name="connsiteY10" fmla="*/ 6858000 h 6858000"/>
              <a:gd name="connsiteX11" fmla="*/ 0 w 12195175"/>
              <a:gd name="connsiteY11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408277 w 12195175"/>
              <a:gd name="connsiteY6" fmla="*/ 4706327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166225 w 12195175"/>
              <a:gd name="connsiteY6" fmla="*/ 5076825 h 6867485"/>
              <a:gd name="connsiteX7" fmla="*/ 8639175 w 12195175"/>
              <a:gd name="connsiteY7" fmla="*/ 5302250 h 6867485"/>
              <a:gd name="connsiteX8" fmla="*/ 8791575 w 12195175"/>
              <a:gd name="connsiteY8" fmla="*/ 5426075 h 6867485"/>
              <a:gd name="connsiteX9" fmla="*/ 8709025 w 12195175"/>
              <a:gd name="connsiteY9" fmla="*/ 5559425 h 6867485"/>
              <a:gd name="connsiteX10" fmla="*/ 6647422 w 12195175"/>
              <a:gd name="connsiteY10" fmla="*/ 6120030 h 6867485"/>
              <a:gd name="connsiteX11" fmla="*/ 4105315 w 12195175"/>
              <a:gd name="connsiteY11" fmla="*/ 6867485 h 6867485"/>
              <a:gd name="connsiteX12" fmla="*/ 0 w 12195175"/>
              <a:gd name="connsiteY12" fmla="*/ 6858000 h 6867485"/>
              <a:gd name="connsiteX13" fmla="*/ 0 w 12195175"/>
              <a:gd name="connsiteY13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166225 w 12195175"/>
              <a:gd name="connsiteY5" fmla="*/ 5076825 h 6867485"/>
              <a:gd name="connsiteX6" fmla="*/ 8639175 w 12195175"/>
              <a:gd name="connsiteY6" fmla="*/ 5302250 h 6867485"/>
              <a:gd name="connsiteX7" fmla="*/ 8791575 w 12195175"/>
              <a:gd name="connsiteY7" fmla="*/ 5426075 h 6867485"/>
              <a:gd name="connsiteX8" fmla="*/ 8709025 w 12195175"/>
              <a:gd name="connsiteY8" fmla="*/ 5559425 h 6867485"/>
              <a:gd name="connsiteX9" fmla="*/ 6647422 w 12195175"/>
              <a:gd name="connsiteY9" fmla="*/ 612003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639175 w 12195175"/>
              <a:gd name="connsiteY5" fmla="*/ 5302250 h 6867485"/>
              <a:gd name="connsiteX6" fmla="*/ 8791575 w 12195175"/>
              <a:gd name="connsiteY6" fmla="*/ 5426075 h 6867485"/>
              <a:gd name="connsiteX7" fmla="*/ 8709025 w 12195175"/>
              <a:gd name="connsiteY7" fmla="*/ 5559425 h 6867485"/>
              <a:gd name="connsiteX8" fmla="*/ 6647422 w 12195175"/>
              <a:gd name="connsiteY8" fmla="*/ 612003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91575 w 12195175"/>
              <a:gd name="connsiteY5" fmla="*/ 5426075 h 6867485"/>
              <a:gd name="connsiteX6" fmla="*/ 8709025 w 12195175"/>
              <a:gd name="connsiteY6" fmla="*/ 5559425 h 6867485"/>
              <a:gd name="connsiteX7" fmla="*/ 6647422 w 12195175"/>
              <a:gd name="connsiteY7" fmla="*/ 612003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09025 w 12195175"/>
              <a:gd name="connsiteY5" fmla="*/ 5559425 h 6867485"/>
              <a:gd name="connsiteX6" fmla="*/ 6647422 w 12195175"/>
              <a:gd name="connsiteY6" fmla="*/ 612003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48929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35144 w 12195175"/>
              <a:gd name="connsiteY4" fmla="*/ 514898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5234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8919012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52344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880917 w 12195175"/>
              <a:gd name="connsiteY7" fmla="*/ 54229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503142 w 12195175"/>
              <a:gd name="connsiteY7" fmla="*/ 50673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131716 w 12195175"/>
              <a:gd name="connsiteY8" fmla="*/ 5457825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322191 w 12195175"/>
              <a:gd name="connsiteY9" fmla="*/ 5534025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07811 h 6858000"/>
              <a:gd name="connsiteX3" fmla="*/ 10768730 w 12195175"/>
              <a:gd name="connsiteY3" fmla="*/ 4999470 h 6858000"/>
              <a:gd name="connsiteX4" fmla="*/ 9312059 w 12195175"/>
              <a:gd name="connsiteY4" fmla="*/ 5344969 h 6858000"/>
              <a:gd name="connsiteX5" fmla="*/ 9254575 w 12195175"/>
              <a:gd name="connsiteY5" fmla="*/ 5234955 h 6858000"/>
              <a:gd name="connsiteX6" fmla="*/ 9090439 w 12195175"/>
              <a:gd name="connsiteY6" fmla="*/ 5356225 h 6858000"/>
              <a:gd name="connsiteX7" fmla="*/ 8369810 w 12195175"/>
              <a:gd name="connsiteY7" fmla="*/ 5378450 h 6858000"/>
              <a:gd name="connsiteX8" fmla="*/ 8493618 w 12195175"/>
              <a:gd name="connsiteY8" fmla="*/ 5473700 h 6858000"/>
              <a:gd name="connsiteX9" fmla="*/ 8436476 w 12195175"/>
              <a:gd name="connsiteY9" fmla="*/ 5556250 h 6858000"/>
              <a:gd name="connsiteX10" fmla="*/ 3191037 w 12195175"/>
              <a:gd name="connsiteY10" fmla="*/ 6642632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5175" h="6859990">
                <a:moveTo>
                  <a:pt x="0" y="0"/>
                </a:moveTo>
                <a:lnTo>
                  <a:pt x="12192000" y="0"/>
                </a:lnTo>
                <a:cubicBezTo>
                  <a:pt x="12193058" y="1588128"/>
                  <a:pt x="12194117" y="3119683"/>
                  <a:pt x="12195175" y="4707811"/>
                </a:cubicBezTo>
                <a:cubicBezTo>
                  <a:pt x="11709400" y="4788675"/>
                  <a:pt x="11441520" y="4853951"/>
                  <a:pt x="10768730" y="4999470"/>
                </a:cubicBezTo>
                <a:lnTo>
                  <a:pt x="9312059" y="5344969"/>
                </a:lnTo>
                <a:cubicBezTo>
                  <a:pt x="9297337" y="5292270"/>
                  <a:pt x="9292097" y="5275532"/>
                  <a:pt x="9254575" y="5234955"/>
                </a:cubicBezTo>
                <a:cubicBezTo>
                  <a:pt x="9182717" y="5248473"/>
                  <a:pt x="9110561" y="5300037"/>
                  <a:pt x="9090439" y="5356225"/>
                </a:cubicBezTo>
                <a:cubicBezTo>
                  <a:pt x="9018639" y="5285949"/>
                  <a:pt x="8708605" y="5037673"/>
                  <a:pt x="8369810" y="5378450"/>
                </a:cubicBezTo>
                <a:cubicBezTo>
                  <a:pt x="8429069" y="5436658"/>
                  <a:pt x="8426595" y="5447778"/>
                  <a:pt x="8493618" y="5473700"/>
                </a:cubicBezTo>
                <a:cubicBezTo>
                  <a:pt x="8485682" y="5499629"/>
                  <a:pt x="8472628" y="5489053"/>
                  <a:pt x="8436476" y="5556250"/>
                </a:cubicBezTo>
                <a:cubicBezTo>
                  <a:pt x="7470174" y="5798073"/>
                  <a:pt x="5874545" y="6234593"/>
                  <a:pt x="3910469" y="685999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tIns="144000" rIns="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/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2542FA3C-B111-441A-A03E-8404B1A845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presenter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5199FE99-79B5-4DCF-87BD-5E9E69F5BF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351860358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Title slide without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994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23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F9F516-A356-494E-B06F-D96C6017EB1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999" y="540000"/>
            <a:ext cx="8473371" cy="1218795"/>
          </a:xfr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</a:t>
            </a:r>
            <a:br>
              <a:rPr lang="en-US" dirty="0"/>
            </a:br>
            <a:r>
              <a:rPr lang="en-US" dirty="0"/>
              <a:t>without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F87B3A-229C-F140-8380-D91564A36F0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40000" y="6048369"/>
            <a:ext cx="2949512" cy="13904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alphaModFix/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DE0E416-3425-4A6B-9CD6-A378559ED4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presen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41DE6B-A190-4DCF-9C25-D7BC88F3FE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28856253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1338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47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dirty="0"/>
              <a:t>Click icon to add imag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52539A8-3270-4B01-8144-98B9A7185D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46C7AD5-0DD3-406F-ACB9-ACABB0D58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</a:t>
            </a:r>
            <a:br>
              <a:rPr lang="en-US" dirty="0"/>
            </a:br>
            <a:r>
              <a:rPr lang="en-US" dirty="0"/>
              <a:t>with an imag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12DA6DC-0102-4FB2-A547-D52FC941F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9A730C8-66A5-4822-B3D3-B4581797F3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09960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8824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71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3B8A5-F0B9-4B92-9033-C0E5FF13399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AE11780-2DEF-46A1-931C-FE31AE9DB4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</a:t>
            </a:r>
            <a:br>
              <a:rPr lang="en-US" dirty="0"/>
            </a:br>
            <a:r>
              <a:rPr lang="en-US" dirty="0"/>
              <a:t>without an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85137F-B8FB-48C3-B162-ABBE7B987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EA4E02A-F812-44E1-930E-E387B9F33F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297385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132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95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12450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559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19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C21C4-5401-4164-91BA-DC24D7BB1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EE1A1E3-31FD-4EA7-BCB2-F721C7ECF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644070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0740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3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1800225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8A6B7A4-D943-4831-A643-DDE141023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9859E-49E6-4991-A101-64768140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F9106C1-A74E-4316-9285-24C2D5F0D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D8AFE70-5132-4474-A761-AC2C2E7862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9683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E78C9E-7CFF-4507-BF72-CDAFFC1DE2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887827-3FF5-46DB-93BF-BD6D67AA4E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B4AF87-A777-47A7-A44A-C0D0231A5E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0BCD7DA-F7C6-4B5F-8A54-A6EABD782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6896235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2 columns w/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8930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67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2232000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2232000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4F5A02-45AE-457C-93B5-134D4CA14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0626E5D-46A4-4917-94D9-76F8EC00A8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201B17D-2F65-4670-BFA9-9258870A74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251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 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01EB234-5D8E-472D-AFF8-9F39501AC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3269602-6D9D-4AB3-B9E6-58FC9FE588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1209404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12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91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674312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674312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53C0BAD-6501-432C-BDEE-DDD9D0A4F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4C2CD50-5B04-4D3D-BA05-74D0E97B10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39141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BAB836-C9B1-4F02-BEDD-1902625C3D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177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115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BAB836-C9B1-4F02-BEDD-1902625C3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80C3687-36C5-4171-B057-305596933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3E210B19-5567-EC4C-82D7-46BB70171659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auto">
          <a:xfrm>
            <a:off x="6097411" y="0"/>
            <a:ext cx="6094589" cy="6858000"/>
          </a:xfrm>
          <a:custGeom>
            <a:avLst/>
            <a:gdLst>
              <a:gd name="connsiteX0" fmla="*/ 0 w 4575175"/>
              <a:gd name="connsiteY0" fmla="*/ 0 h 5148263"/>
              <a:gd name="connsiteX1" fmla="*/ 4575175 w 4575175"/>
              <a:gd name="connsiteY1" fmla="*/ 0 h 5148263"/>
              <a:gd name="connsiteX2" fmla="*/ 4575175 w 4575175"/>
              <a:gd name="connsiteY2" fmla="*/ 4460152 h 5148263"/>
              <a:gd name="connsiteX3" fmla="*/ 4536394 w 4575175"/>
              <a:gd name="connsiteY3" fmla="*/ 4467348 h 5148263"/>
              <a:gd name="connsiteX4" fmla="*/ 4483511 w 4575175"/>
              <a:gd name="connsiteY4" fmla="*/ 4476343 h 5148263"/>
              <a:gd name="connsiteX5" fmla="*/ 4405948 w 4575175"/>
              <a:gd name="connsiteY5" fmla="*/ 4490735 h 5148263"/>
              <a:gd name="connsiteX6" fmla="*/ 4303707 w 4575175"/>
              <a:gd name="connsiteY6" fmla="*/ 4512323 h 5148263"/>
              <a:gd name="connsiteX7" fmla="*/ 4175024 w 4575175"/>
              <a:gd name="connsiteY7" fmla="*/ 4541106 h 5148263"/>
              <a:gd name="connsiteX8" fmla="*/ 4016374 w 4575175"/>
              <a:gd name="connsiteY8" fmla="*/ 4578885 h 5148263"/>
              <a:gd name="connsiteX9" fmla="*/ 3825994 w 4575175"/>
              <a:gd name="connsiteY9" fmla="*/ 4625659 h 5148263"/>
              <a:gd name="connsiteX10" fmla="*/ 3820705 w 4575175"/>
              <a:gd name="connsiteY10" fmla="*/ 4611267 h 5148263"/>
              <a:gd name="connsiteX11" fmla="*/ 3813654 w 4575175"/>
              <a:gd name="connsiteY11" fmla="*/ 4596875 h 5148263"/>
              <a:gd name="connsiteX12" fmla="*/ 3806603 w 4575175"/>
              <a:gd name="connsiteY12" fmla="*/ 4586081 h 5148263"/>
              <a:gd name="connsiteX13" fmla="*/ 3797789 w 4575175"/>
              <a:gd name="connsiteY13" fmla="*/ 4577086 h 5148263"/>
              <a:gd name="connsiteX14" fmla="*/ 3774873 w 4575175"/>
              <a:gd name="connsiteY14" fmla="*/ 4584282 h 5148263"/>
              <a:gd name="connsiteX15" fmla="*/ 3764297 w 4575175"/>
              <a:gd name="connsiteY15" fmla="*/ 4589679 h 5148263"/>
              <a:gd name="connsiteX16" fmla="*/ 3755483 w 4575175"/>
              <a:gd name="connsiteY16" fmla="*/ 4595076 h 5148263"/>
              <a:gd name="connsiteX17" fmla="*/ 3748431 w 4575175"/>
              <a:gd name="connsiteY17" fmla="*/ 4602272 h 5148263"/>
              <a:gd name="connsiteX18" fmla="*/ 3741380 w 4575175"/>
              <a:gd name="connsiteY18" fmla="*/ 4609468 h 5148263"/>
              <a:gd name="connsiteX19" fmla="*/ 3736092 w 4575175"/>
              <a:gd name="connsiteY19" fmla="*/ 4618463 h 5148263"/>
              <a:gd name="connsiteX20" fmla="*/ 3732566 w 4575175"/>
              <a:gd name="connsiteY20" fmla="*/ 4627458 h 5148263"/>
              <a:gd name="connsiteX21" fmla="*/ 3714939 w 4575175"/>
              <a:gd name="connsiteY21" fmla="*/ 4609468 h 5148263"/>
              <a:gd name="connsiteX22" fmla="*/ 3695548 w 4575175"/>
              <a:gd name="connsiteY22" fmla="*/ 4593277 h 5148263"/>
              <a:gd name="connsiteX23" fmla="*/ 3672632 w 4575175"/>
              <a:gd name="connsiteY23" fmla="*/ 4580684 h 5148263"/>
              <a:gd name="connsiteX24" fmla="*/ 3660293 w 4575175"/>
              <a:gd name="connsiteY24" fmla="*/ 4575287 h 5148263"/>
              <a:gd name="connsiteX25" fmla="*/ 3647953 w 4575175"/>
              <a:gd name="connsiteY25" fmla="*/ 4571689 h 5148263"/>
              <a:gd name="connsiteX26" fmla="*/ 3630325 w 4575175"/>
              <a:gd name="connsiteY26" fmla="*/ 4568091 h 5148263"/>
              <a:gd name="connsiteX27" fmla="*/ 3614460 w 4575175"/>
              <a:gd name="connsiteY27" fmla="*/ 4564493 h 5148263"/>
              <a:gd name="connsiteX28" fmla="*/ 3598595 w 4575175"/>
              <a:gd name="connsiteY28" fmla="*/ 4562694 h 5148263"/>
              <a:gd name="connsiteX29" fmla="*/ 3582730 w 4575175"/>
              <a:gd name="connsiteY29" fmla="*/ 4562694 h 5148263"/>
              <a:gd name="connsiteX30" fmla="*/ 3566865 w 4575175"/>
              <a:gd name="connsiteY30" fmla="*/ 4564493 h 5148263"/>
              <a:gd name="connsiteX31" fmla="*/ 3552763 w 4575175"/>
              <a:gd name="connsiteY31" fmla="*/ 4566292 h 5148263"/>
              <a:gd name="connsiteX32" fmla="*/ 3538661 w 4575175"/>
              <a:gd name="connsiteY32" fmla="*/ 4569890 h 5148263"/>
              <a:gd name="connsiteX33" fmla="*/ 3524558 w 4575175"/>
              <a:gd name="connsiteY33" fmla="*/ 4573488 h 5148263"/>
              <a:gd name="connsiteX34" fmla="*/ 3510456 w 4575175"/>
              <a:gd name="connsiteY34" fmla="*/ 4578885 h 5148263"/>
              <a:gd name="connsiteX35" fmla="*/ 3498117 w 4575175"/>
              <a:gd name="connsiteY35" fmla="*/ 4584282 h 5148263"/>
              <a:gd name="connsiteX36" fmla="*/ 3475201 w 4575175"/>
              <a:gd name="connsiteY36" fmla="*/ 4598674 h 5148263"/>
              <a:gd name="connsiteX37" fmla="*/ 3455810 w 4575175"/>
              <a:gd name="connsiteY37" fmla="*/ 4616664 h 5148263"/>
              <a:gd name="connsiteX38" fmla="*/ 3438182 w 4575175"/>
              <a:gd name="connsiteY38" fmla="*/ 4636453 h 5148263"/>
              <a:gd name="connsiteX39" fmla="*/ 3441708 w 4575175"/>
              <a:gd name="connsiteY39" fmla="*/ 4641850 h 5148263"/>
              <a:gd name="connsiteX40" fmla="*/ 3450522 w 4575175"/>
              <a:gd name="connsiteY40" fmla="*/ 4650844 h 5148263"/>
              <a:gd name="connsiteX41" fmla="*/ 3457573 w 4575175"/>
              <a:gd name="connsiteY41" fmla="*/ 4658040 h 5148263"/>
              <a:gd name="connsiteX42" fmla="*/ 3466387 w 4575175"/>
              <a:gd name="connsiteY42" fmla="*/ 4663437 h 5148263"/>
              <a:gd name="connsiteX43" fmla="*/ 3476963 w 4575175"/>
              <a:gd name="connsiteY43" fmla="*/ 4670633 h 5148263"/>
              <a:gd name="connsiteX44" fmla="*/ 3489303 w 4575175"/>
              <a:gd name="connsiteY44" fmla="*/ 4676030 h 5148263"/>
              <a:gd name="connsiteX45" fmla="*/ 3480489 w 4575175"/>
              <a:gd name="connsiteY45" fmla="*/ 4685025 h 5148263"/>
              <a:gd name="connsiteX46" fmla="*/ 3473438 w 4575175"/>
              <a:gd name="connsiteY46" fmla="*/ 4697618 h 5148263"/>
              <a:gd name="connsiteX47" fmla="*/ 3466387 w 4575175"/>
              <a:gd name="connsiteY47" fmla="*/ 4708412 h 5148263"/>
              <a:gd name="connsiteX48" fmla="*/ 3461098 w 4575175"/>
              <a:gd name="connsiteY48" fmla="*/ 4721005 h 5148263"/>
              <a:gd name="connsiteX49" fmla="*/ 3157900 w 4575175"/>
              <a:gd name="connsiteY49" fmla="*/ 4804657 h 5148263"/>
              <a:gd name="connsiteX50" fmla="*/ 2812395 w 4575175"/>
              <a:gd name="connsiteY50" fmla="*/ 4901803 h 5148263"/>
              <a:gd name="connsiteX51" fmla="*/ 2421058 w 4575175"/>
              <a:gd name="connsiteY51" fmla="*/ 5016937 h 5148263"/>
              <a:gd name="connsiteX52" fmla="*/ 1982126 w 4575175"/>
              <a:gd name="connsiteY52" fmla="*/ 5148263 h 5148263"/>
              <a:gd name="connsiteX53" fmla="*/ 0 w 4575175"/>
              <a:gd name="connsiteY53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3">
                <a:moveTo>
                  <a:pt x="0" y="0"/>
                </a:moveTo>
                <a:lnTo>
                  <a:pt x="4575175" y="0"/>
                </a:lnTo>
                <a:lnTo>
                  <a:pt x="4575175" y="4460152"/>
                </a:lnTo>
                <a:lnTo>
                  <a:pt x="4536394" y="4467348"/>
                </a:lnTo>
                <a:lnTo>
                  <a:pt x="4483511" y="4476343"/>
                </a:lnTo>
                <a:lnTo>
                  <a:pt x="4405948" y="4490735"/>
                </a:lnTo>
                <a:lnTo>
                  <a:pt x="4303707" y="4512323"/>
                </a:lnTo>
                <a:lnTo>
                  <a:pt x="4175024" y="4541106"/>
                </a:lnTo>
                <a:lnTo>
                  <a:pt x="4016374" y="4578885"/>
                </a:lnTo>
                <a:lnTo>
                  <a:pt x="3825994" y="4625659"/>
                </a:lnTo>
                <a:lnTo>
                  <a:pt x="3820705" y="4611267"/>
                </a:lnTo>
                <a:lnTo>
                  <a:pt x="3813654" y="4596875"/>
                </a:lnTo>
                <a:lnTo>
                  <a:pt x="3806603" y="4586081"/>
                </a:lnTo>
                <a:lnTo>
                  <a:pt x="3797789" y="4577086"/>
                </a:lnTo>
                <a:lnTo>
                  <a:pt x="3774873" y="4584282"/>
                </a:lnTo>
                <a:lnTo>
                  <a:pt x="3764297" y="4589679"/>
                </a:lnTo>
                <a:lnTo>
                  <a:pt x="3755483" y="4595076"/>
                </a:lnTo>
                <a:lnTo>
                  <a:pt x="3748431" y="4602272"/>
                </a:lnTo>
                <a:lnTo>
                  <a:pt x="3741380" y="4609468"/>
                </a:lnTo>
                <a:lnTo>
                  <a:pt x="3736092" y="4618463"/>
                </a:lnTo>
                <a:lnTo>
                  <a:pt x="3732566" y="4627458"/>
                </a:lnTo>
                <a:lnTo>
                  <a:pt x="3714939" y="4609468"/>
                </a:lnTo>
                <a:lnTo>
                  <a:pt x="3695548" y="4593277"/>
                </a:lnTo>
                <a:lnTo>
                  <a:pt x="3672632" y="4580684"/>
                </a:lnTo>
                <a:lnTo>
                  <a:pt x="3660293" y="4575287"/>
                </a:lnTo>
                <a:lnTo>
                  <a:pt x="3647953" y="4571689"/>
                </a:lnTo>
                <a:lnTo>
                  <a:pt x="3630325" y="4568091"/>
                </a:lnTo>
                <a:lnTo>
                  <a:pt x="3614460" y="4564493"/>
                </a:lnTo>
                <a:lnTo>
                  <a:pt x="3598595" y="4562694"/>
                </a:lnTo>
                <a:lnTo>
                  <a:pt x="3582730" y="4562694"/>
                </a:lnTo>
                <a:lnTo>
                  <a:pt x="3566865" y="4564493"/>
                </a:lnTo>
                <a:lnTo>
                  <a:pt x="3552763" y="4566292"/>
                </a:lnTo>
                <a:lnTo>
                  <a:pt x="3538661" y="4569890"/>
                </a:lnTo>
                <a:lnTo>
                  <a:pt x="3524558" y="4573488"/>
                </a:lnTo>
                <a:lnTo>
                  <a:pt x="3510456" y="4578885"/>
                </a:lnTo>
                <a:lnTo>
                  <a:pt x="3498117" y="4584282"/>
                </a:lnTo>
                <a:lnTo>
                  <a:pt x="3475201" y="4598674"/>
                </a:lnTo>
                <a:lnTo>
                  <a:pt x="3455810" y="4616664"/>
                </a:lnTo>
                <a:lnTo>
                  <a:pt x="3438182" y="4636453"/>
                </a:lnTo>
                <a:lnTo>
                  <a:pt x="3441708" y="4641850"/>
                </a:lnTo>
                <a:lnTo>
                  <a:pt x="3450522" y="4650844"/>
                </a:lnTo>
                <a:lnTo>
                  <a:pt x="3457573" y="4658040"/>
                </a:lnTo>
                <a:lnTo>
                  <a:pt x="3466387" y="4663437"/>
                </a:lnTo>
                <a:lnTo>
                  <a:pt x="3476963" y="4670633"/>
                </a:lnTo>
                <a:lnTo>
                  <a:pt x="3489303" y="4676030"/>
                </a:lnTo>
                <a:lnTo>
                  <a:pt x="3480489" y="4685025"/>
                </a:lnTo>
                <a:lnTo>
                  <a:pt x="3473438" y="4697618"/>
                </a:lnTo>
                <a:lnTo>
                  <a:pt x="3466387" y="4708412"/>
                </a:lnTo>
                <a:lnTo>
                  <a:pt x="3461098" y="4721005"/>
                </a:lnTo>
                <a:lnTo>
                  <a:pt x="3157900" y="4804657"/>
                </a:lnTo>
                <a:lnTo>
                  <a:pt x="2812395" y="4901803"/>
                </a:lnTo>
                <a:lnTo>
                  <a:pt x="2421058" y="5016937"/>
                </a:lnTo>
                <a:lnTo>
                  <a:pt x="1982126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355D142-E307-46D2-ABBE-A69BC17C24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158634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0150C5-668E-4AF4-8FA1-109F47087E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5158947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E460FD4-C709-4C4E-8F84-D8A6C0957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5158947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2B0F4B5-E5C2-4382-AED6-B70253040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7101D0A-2711-43A1-B0D0-D28DE6599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338495"/>
            <a:ext cx="4560148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883416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2887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39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dirty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980314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873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63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03AC79-C5BC-47C4-BE09-93769D099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D8A6B18-6BCC-43D0-9936-BD3BE44D28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27990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2611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87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4A1EC-5405-41F8-8513-97687168C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FB00B4-33CE-494A-BB67-30294EE0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1AC2AB-79C7-44D8-A2D9-1231C29DC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024521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211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4692C1B-5892-44B6-A633-38CA66E6F79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920ECC3-E579-40EC-83D9-A249560D80E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9923" y="3190484"/>
            <a:ext cx="5612156" cy="477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93061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1FE3D0-05F6-46C1-A5EA-B2DE3515B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0776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2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1FE3D0-05F6-46C1-A5EA-B2DE3515B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48407E-796A-40CA-AB97-FD69035658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7C9C340-AD27-5841-BF8F-0CE7DDB2F1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4800" y="-1990"/>
            <a:ext cx="12196800" cy="6859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758033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0 w 12195175"/>
              <a:gd name="connsiteY3" fmla="*/ 6858000 h 6858000"/>
              <a:gd name="connsiteX4" fmla="*/ 0 w 12195175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10023475 w 12195175"/>
              <a:gd name="connsiteY4" fmla="*/ 53213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9925 w 12195175"/>
              <a:gd name="connsiteY6" fmla="*/ 52451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0 w 12195175"/>
              <a:gd name="connsiteY10" fmla="*/ 6858000 h 6858000"/>
              <a:gd name="connsiteX11" fmla="*/ 0 w 12195175"/>
              <a:gd name="connsiteY11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408277 w 12195175"/>
              <a:gd name="connsiteY6" fmla="*/ 4706327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166225 w 12195175"/>
              <a:gd name="connsiteY6" fmla="*/ 5076825 h 6867485"/>
              <a:gd name="connsiteX7" fmla="*/ 8639175 w 12195175"/>
              <a:gd name="connsiteY7" fmla="*/ 5302250 h 6867485"/>
              <a:gd name="connsiteX8" fmla="*/ 8791575 w 12195175"/>
              <a:gd name="connsiteY8" fmla="*/ 5426075 h 6867485"/>
              <a:gd name="connsiteX9" fmla="*/ 8709025 w 12195175"/>
              <a:gd name="connsiteY9" fmla="*/ 5559425 h 6867485"/>
              <a:gd name="connsiteX10" fmla="*/ 6647422 w 12195175"/>
              <a:gd name="connsiteY10" fmla="*/ 6120030 h 6867485"/>
              <a:gd name="connsiteX11" fmla="*/ 4105315 w 12195175"/>
              <a:gd name="connsiteY11" fmla="*/ 6867485 h 6867485"/>
              <a:gd name="connsiteX12" fmla="*/ 0 w 12195175"/>
              <a:gd name="connsiteY12" fmla="*/ 6858000 h 6867485"/>
              <a:gd name="connsiteX13" fmla="*/ 0 w 12195175"/>
              <a:gd name="connsiteY13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166225 w 12195175"/>
              <a:gd name="connsiteY5" fmla="*/ 5076825 h 6867485"/>
              <a:gd name="connsiteX6" fmla="*/ 8639175 w 12195175"/>
              <a:gd name="connsiteY6" fmla="*/ 5302250 h 6867485"/>
              <a:gd name="connsiteX7" fmla="*/ 8791575 w 12195175"/>
              <a:gd name="connsiteY7" fmla="*/ 5426075 h 6867485"/>
              <a:gd name="connsiteX8" fmla="*/ 8709025 w 12195175"/>
              <a:gd name="connsiteY8" fmla="*/ 5559425 h 6867485"/>
              <a:gd name="connsiteX9" fmla="*/ 6647422 w 12195175"/>
              <a:gd name="connsiteY9" fmla="*/ 612003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639175 w 12195175"/>
              <a:gd name="connsiteY5" fmla="*/ 5302250 h 6867485"/>
              <a:gd name="connsiteX6" fmla="*/ 8791575 w 12195175"/>
              <a:gd name="connsiteY6" fmla="*/ 5426075 h 6867485"/>
              <a:gd name="connsiteX7" fmla="*/ 8709025 w 12195175"/>
              <a:gd name="connsiteY7" fmla="*/ 5559425 h 6867485"/>
              <a:gd name="connsiteX8" fmla="*/ 6647422 w 12195175"/>
              <a:gd name="connsiteY8" fmla="*/ 612003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91575 w 12195175"/>
              <a:gd name="connsiteY5" fmla="*/ 5426075 h 6867485"/>
              <a:gd name="connsiteX6" fmla="*/ 8709025 w 12195175"/>
              <a:gd name="connsiteY6" fmla="*/ 5559425 h 6867485"/>
              <a:gd name="connsiteX7" fmla="*/ 6647422 w 12195175"/>
              <a:gd name="connsiteY7" fmla="*/ 612003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09025 w 12195175"/>
              <a:gd name="connsiteY5" fmla="*/ 5559425 h 6867485"/>
              <a:gd name="connsiteX6" fmla="*/ 6647422 w 12195175"/>
              <a:gd name="connsiteY6" fmla="*/ 612003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48929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35144 w 12195175"/>
              <a:gd name="connsiteY4" fmla="*/ 514898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5234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8919012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52344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880917 w 12195175"/>
              <a:gd name="connsiteY7" fmla="*/ 54229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503142 w 12195175"/>
              <a:gd name="connsiteY7" fmla="*/ 50673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131716 w 12195175"/>
              <a:gd name="connsiteY8" fmla="*/ 5457825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322191 w 12195175"/>
              <a:gd name="connsiteY9" fmla="*/ 5534025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07811 h 6858000"/>
              <a:gd name="connsiteX3" fmla="*/ 10768730 w 12195175"/>
              <a:gd name="connsiteY3" fmla="*/ 4999470 h 6858000"/>
              <a:gd name="connsiteX4" fmla="*/ 9312059 w 12195175"/>
              <a:gd name="connsiteY4" fmla="*/ 5344969 h 6858000"/>
              <a:gd name="connsiteX5" fmla="*/ 9254575 w 12195175"/>
              <a:gd name="connsiteY5" fmla="*/ 5234955 h 6858000"/>
              <a:gd name="connsiteX6" fmla="*/ 9090439 w 12195175"/>
              <a:gd name="connsiteY6" fmla="*/ 5356225 h 6858000"/>
              <a:gd name="connsiteX7" fmla="*/ 8369810 w 12195175"/>
              <a:gd name="connsiteY7" fmla="*/ 5378450 h 6858000"/>
              <a:gd name="connsiteX8" fmla="*/ 8493618 w 12195175"/>
              <a:gd name="connsiteY8" fmla="*/ 5473700 h 6858000"/>
              <a:gd name="connsiteX9" fmla="*/ 8436476 w 12195175"/>
              <a:gd name="connsiteY9" fmla="*/ 5556250 h 6858000"/>
              <a:gd name="connsiteX10" fmla="*/ 3191037 w 12195175"/>
              <a:gd name="connsiteY10" fmla="*/ 6642632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5175" h="6859990">
                <a:moveTo>
                  <a:pt x="0" y="0"/>
                </a:moveTo>
                <a:lnTo>
                  <a:pt x="12192000" y="0"/>
                </a:lnTo>
                <a:cubicBezTo>
                  <a:pt x="12193058" y="1588128"/>
                  <a:pt x="12194117" y="3119683"/>
                  <a:pt x="12195175" y="4707811"/>
                </a:cubicBezTo>
                <a:cubicBezTo>
                  <a:pt x="11709400" y="4788675"/>
                  <a:pt x="11441520" y="4853951"/>
                  <a:pt x="10768730" y="4999470"/>
                </a:cubicBezTo>
                <a:lnTo>
                  <a:pt x="9312059" y="5344969"/>
                </a:lnTo>
                <a:cubicBezTo>
                  <a:pt x="9297337" y="5292270"/>
                  <a:pt x="9292097" y="5275532"/>
                  <a:pt x="9254575" y="5234955"/>
                </a:cubicBezTo>
                <a:cubicBezTo>
                  <a:pt x="9182717" y="5248473"/>
                  <a:pt x="9110561" y="5300037"/>
                  <a:pt x="9090439" y="5356225"/>
                </a:cubicBezTo>
                <a:cubicBezTo>
                  <a:pt x="9018639" y="5285949"/>
                  <a:pt x="8708605" y="5037673"/>
                  <a:pt x="8369810" y="5378450"/>
                </a:cubicBezTo>
                <a:cubicBezTo>
                  <a:pt x="8429069" y="5436658"/>
                  <a:pt x="8426595" y="5447778"/>
                  <a:pt x="8493618" y="5473700"/>
                </a:cubicBezTo>
                <a:cubicBezTo>
                  <a:pt x="8485682" y="5499629"/>
                  <a:pt x="8472628" y="5489053"/>
                  <a:pt x="8436476" y="5556250"/>
                </a:cubicBezTo>
                <a:cubicBezTo>
                  <a:pt x="7470174" y="5798073"/>
                  <a:pt x="5874545" y="6234593"/>
                  <a:pt x="3910469" y="685999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tIns="144000" rIns="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/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2542FA3C-B111-441A-A03E-8404B1A845D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presenter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5199FE99-79B5-4DCF-87BD-5E9E69F5BF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405514592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Title slide without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39949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70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AEF9F516-A356-494E-B06F-D96C6017EB1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999" y="540000"/>
            <a:ext cx="8473371" cy="1218795"/>
          </a:xfr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</a:t>
            </a:r>
            <a:br>
              <a:rPr lang="en-US" dirty="0"/>
            </a:br>
            <a:r>
              <a:rPr lang="en-US" dirty="0"/>
              <a:t>without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F87B3A-229C-F140-8380-D91564A36F0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40000" y="6048369"/>
            <a:ext cx="2949512" cy="13904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alphaModFix/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6DE0E416-3425-4A6B-9CD6-A378559ED4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presen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B41DE6B-A190-4DCF-9C25-D7BC88F3FE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230446824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1338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7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dirty="0"/>
              <a:t>Click icon to add imag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52539A8-3270-4B01-8144-98B9A7185D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46C7AD5-0DD3-406F-ACB9-ACABB0D58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</a:t>
            </a:r>
            <a:br>
              <a:rPr lang="en-US" dirty="0"/>
            </a:br>
            <a:r>
              <a:rPr lang="en-US" dirty="0"/>
              <a:t>with an imag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12DA6DC-0102-4FB2-A547-D52FC941F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9A730C8-66A5-4822-B3D3-B4581797F3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40746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ECF90F3-4256-40F0-8A43-517DE8FCDC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B5F3192-5B7A-42E2-A22E-F8B29D453D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221749-979A-4C63-B655-06265D8F5B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27840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88245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5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3B8A5-F0B9-4B92-9033-C0E5FF13399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AE11780-2DEF-46A1-931C-FE31AE9DB4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</a:t>
            </a:r>
            <a:br>
              <a:rPr lang="en-US" dirty="0"/>
            </a:br>
            <a:r>
              <a:rPr lang="en-US" dirty="0"/>
              <a:t>without an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85137F-B8FB-48C3-B162-ABBE7B987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EA4E02A-F812-44E1-930E-E387B9F33F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71418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132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2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555986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559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0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C21C4-5401-4164-91BA-DC24D7BB1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EE1A1E3-31FD-4EA7-BCB2-F721C7ECF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285902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0740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8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1800225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8A6B7A4-D943-4831-A643-DDE141023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9859E-49E6-4991-A101-64768140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F9106C1-A74E-4316-9285-24C2D5F0D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D8AFE70-5132-4474-A761-AC2C2E7862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309204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2 columns w/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8930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5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2232000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2232000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4F5A02-45AE-457C-93B5-134D4CA14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0626E5D-46A4-4917-94D9-76F8EC00A8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201B17D-2F65-4670-BFA9-9258870A74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251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 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01EB234-5D8E-472D-AFF8-9F39501AC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3269602-6D9D-4AB3-B9E6-58FC9FE588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764884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12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3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674312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674312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53C0BAD-6501-432C-BDEE-DDD9D0A4F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4C2CD50-5B04-4D3D-BA05-74D0E97B10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033284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BAB836-C9B1-4F02-BEDD-1902625C3D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177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BAB836-C9B1-4F02-BEDD-1902625C3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80C3687-36C5-4171-B057-305596933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3E210B19-5567-EC4C-82D7-46BB70171659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auto">
          <a:xfrm>
            <a:off x="6097411" y="0"/>
            <a:ext cx="6094589" cy="6858000"/>
          </a:xfrm>
          <a:custGeom>
            <a:avLst/>
            <a:gdLst>
              <a:gd name="connsiteX0" fmla="*/ 0 w 4575175"/>
              <a:gd name="connsiteY0" fmla="*/ 0 h 5148263"/>
              <a:gd name="connsiteX1" fmla="*/ 4575175 w 4575175"/>
              <a:gd name="connsiteY1" fmla="*/ 0 h 5148263"/>
              <a:gd name="connsiteX2" fmla="*/ 4575175 w 4575175"/>
              <a:gd name="connsiteY2" fmla="*/ 4460152 h 5148263"/>
              <a:gd name="connsiteX3" fmla="*/ 4536394 w 4575175"/>
              <a:gd name="connsiteY3" fmla="*/ 4467348 h 5148263"/>
              <a:gd name="connsiteX4" fmla="*/ 4483511 w 4575175"/>
              <a:gd name="connsiteY4" fmla="*/ 4476343 h 5148263"/>
              <a:gd name="connsiteX5" fmla="*/ 4405948 w 4575175"/>
              <a:gd name="connsiteY5" fmla="*/ 4490735 h 5148263"/>
              <a:gd name="connsiteX6" fmla="*/ 4303707 w 4575175"/>
              <a:gd name="connsiteY6" fmla="*/ 4512323 h 5148263"/>
              <a:gd name="connsiteX7" fmla="*/ 4175024 w 4575175"/>
              <a:gd name="connsiteY7" fmla="*/ 4541106 h 5148263"/>
              <a:gd name="connsiteX8" fmla="*/ 4016374 w 4575175"/>
              <a:gd name="connsiteY8" fmla="*/ 4578885 h 5148263"/>
              <a:gd name="connsiteX9" fmla="*/ 3825994 w 4575175"/>
              <a:gd name="connsiteY9" fmla="*/ 4625659 h 5148263"/>
              <a:gd name="connsiteX10" fmla="*/ 3820705 w 4575175"/>
              <a:gd name="connsiteY10" fmla="*/ 4611267 h 5148263"/>
              <a:gd name="connsiteX11" fmla="*/ 3813654 w 4575175"/>
              <a:gd name="connsiteY11" fmla="*/ 4596875 h 5148263"/>
              <a:gd name="connsiteX12" fmla="*/ 3806603 w 4575175"/>
              <a:gd name="connsiteY12" fmla="*/ 4586081 h 5148263"/>
              <a:gd name="connsiteX13" fmla="*/ 3797789 w 4575175"/>
              <a:gd name="connsiteY13" fmla="*/ 4577086 h 5148263"/>
              <a:gd name="connsiteX14" fmla="*/ 3774873 w 4575175"/>
              <a:gd name="connsiteY14" fmla="*/ 4584282 h 5148263"/>
              <a:gd name="connsiteX15" fmla="*/ 3764297 w 4575175"/>
              <a:gd name="connsiteY15" fmla="*/ 4589679 h 5148263"/>
              <a:gd name="connsiteX16" fmla="*/ 3755483 w 4575175"/>
              <a:gd name="connsiteY16" fmla="*/ 4595076 h 5148263"/>
              <a:gd name="connsiteX17" fmla="*/ 3748431 w 4575175"/>
              <a:gd name="connsiteY17" fmla="*/ 4602272 h 5148263"/>
              <a:gd name="connsiteX18" fmla="*/ 3741380 w 4575175"/>
              <a:gd name="connsiteY18" fmla="*/ 4609468 h 5148263"/>
              <a:gd name="connsiteX19" fmla="*/ 3736092 w 4575175"/>
              <a:gd name="connsiteY19" fmla="*/ 4618463 h 5148263"/>
              <a:gd name="connsiteX20" fmla="*/ 3732566 w 4575175"/>
              <a:gd name="connsiteY20" fmla="*/ 4627458 h 5148263"/>
              <a:gd name="connsiteX21" fmla="*/ 3714939 w 4575175"/>
              <a:gd name="connsiteY21" fmla="*/ 4609468 h 5148263"/>
              <a:gd name="connsiteX22" fmla="*/ 3695548 w 4575175"/>
              <a:gd name="connsiteY22" fmla="*/ 4593277 h 5148263"/>
              <a:gd name="connsiteX23" fmla="*/ 3672632 w 4575175"/>
              <a:gd name="connsiteY23" fmla="*/ 4580684 h 5148263"/>
              <a:gd name="connsiteX24" fmla="*/ 3660293 w 4575175"/>
              <a:gd name="connsiteY24" fmla="*/ 4575287 h 5148263"/>
              <a:gd name="connsiteX25" fmla="*/ 3647953 w 4575175"/>
              <a:gd name="connsiteY25" fmla="*/ 4571689 h 5148263"/>
              <a:gd name="connsiteX26" fmla="*/ 3630325 w 4575175"/>
              <a:gd name="connsiteY26" fmla="*/ 4568091 h 5148263"/>
              <a:gd name="connsiteX27" fmla="*/ 3614460 w 4575175"/>
              <a:gd name="connsiteY27" fmla="*/ 4564493 h 5148263"/>
              <a:gd name="connsiteX28" fmla="*/ 3598595 w 4575175"/>
              <a:gd name="connsiteY28" fmla="*/ 4562694 h 5148263"/>
              <a:gd name="connsiteX29" fmla="*/ 3582730 w 4575175"/>
              <a:gd name="connsiteY29" fmla="*/ 4562694 h 5148263"/>
              <a:gd name="connsiteX30" fmla="*/ 3566865 w 4575175"/>
              <a:gd name="connsiteY30" fmla="*/ 4564493 h 5148263"/>
              <a:gd name="connsiteX31" fmla="*/ 3552763 w 4575175"/>
              <a:gd name="connsiteY31" fmla="*/ 4566292 h 5148263"/>
              <a:gd name="connsiteX32" fmla="*/ 3538661 w 4575175"/>
              <a:gd name="connsiteY32" fmla="*/ 4569890 h 5148263"/>
              <a:gd name="connsiteX33" fmla="*/ 3524558 w 4575175"/>
              <a:gd name="connsiteY33" fmla="*/ 4573488 h 5148263"/>
              <a:gd name="connsiteX34" fmla="*/ 3510456 w 4575175"/>
              <a:gd name="connsiteY34" fmla="*/ 4578885 h 5148263"/>
              <a:gd name="connsiteX35" fmla="*/ 3498117 w 4575175"/>
              <a:gd name="connsiteY35" fmla="*/ 4584282 h 5148263"/>
              <a:gd name="connsiteX36" fmla="*/ 3475201 w 4575175"/>
              <a:gd name="connsiteY36" fmla="*/ 4598674 h 5148263"/>
              <a:gd name="connsiteX37" fmla="*/ 3455810 w 4575175"/>
              <a:gd name="connsiteY37" fmla="*/ 4616664 h 5148263"/>
              <a:gd name="connsiteX38" fmla="*/ 3438182 w 4575175"/>
              <a:gd name="connsiteY38" fmla="*/ 4636453 h 5148263"/>
              <a:gd name="connsiteX39" fmla="*/ 3441708 w 4575175"/>
              <a:gd name="connsiteY39" fmla="*/ 4641850 h 5148263"/>
              <a:gd name="connsiteX40" fmla="*/ 3450522 w 4575175"/>
              <a:gd name="connsiteY40" fmla="*/ 4650844 h 5148263"/>
              <a:gd name="connsiteX41" fmla="*/ 3457573 w 4575175"/>
              <a:gd name="connsiteY41" fmla="*/ 4658040 h 5148263"/>
              <a:gd name="connsiteX42" fmla="*/ 3466387 w 4575175"/>
              <a:gd name="connsiteY42" fmla="*/ 4663437 h 5148263"/>
              <a:gd name="connsiteX43" fmla="*/ 3476963 w 4575175"/>
              <a:gd name="connsiteY43" fmla="*/ 4670633 h 5148263"/>
              <a:gd name="connsiteX44" fmla="*/ 3489303 w 4575175"/>
              <a:gd name="connsiteY44" fmla="*/ 4676030 h 5148263"/>
              <a:gd name="connsiteX45" fmla="*/ 3480489 w 4575175"/>
              <a:gd name="connsiteY45" fmla="*/ 4685025 h 5148263"/>
              <a:gd name="connsiteX46" fmla="*/ 3473438 w 4575175"/>
              <a:gd name="connsiteY46" fmla="*/ 4697618 h 5148263"/>
              <a:gd name="connsiteX47" fmla="*/ 3466387 w 4575175"/>
              <a:gd name="connsiteY47" fmla="*/ 4708412 h 5148263"/>
              <a:gd name="connsiteX48" fmla="*/ 3461098 w 4575175"/>
              <a:gd name="connsiteY48" fmla="*/ 4721005 h 5148263"/>
              <a:gd name="connsiteX49" fmla="*/ 3157900 w 4575175"/>
              <a:gd name="connsiteY49" fmla="*/ 4804657 h 5148263"/>
              <a:gd name="connsiteX50" fmla="*/ 2812395 w 4575175"/>
              <a:gd name="connsiteY50" fmla="*/ 4901803 h 5148263"/>
              <a:gd name="connsiteX51" fmla="*/ 2421058 w 4575175"/>
              <a:gd name="connsiteY51" fmla="*/ 5016937 h 5148263"/>
              <a:gd name="connsiteX52" fmla="*/ 1982126 w 4575175"/>
              <a:gd name="connsiteY52" fmla="*/ 5148263 h 5148263"/>
              <a:gd name="connsiteX53" fmla="*/ 0 w 4575175"/>
              <a:gd name="connsiteY53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3">
                <a:moveTo>
                  <a:pt x="0" y="0"/>
                </a:moveTo>
                <a:lnTo>
                  <a:pt x="4575175" y="0"/>
                </a:lnTo>
                <a:lnTo>
                  <a:pt x="4575175" y="4460152"/>
                </a:lnTo>
                <a:lnTo>
                  <a:pt x="4536394" y="4467348"/>
                </a:lnTo>
                <a:lnTo>
                  <a:pt x="4483511" y="4476343"/>
                </a:lnTo>
                <a:lnTo>
                  <a:pt x="4405948" y="4490735"/>
                </a:lnTo>
                <a:lnTo>
                  <a:pt x="4303707" y="4512323"/>
                </a:lnTo>
                <a:lnTo>
                  <a:pt x="4175024" y="4541106"/>
                </a:lnTo>
                <a:lnTo>
                  <a:pt x="4016374" y="4578885"/>
                </a:lnTo>
                <a:lnTo>
                  <a:pt x="3825994" y="4625659"/>
                </a:lnTo>
                <a:lnTo>
                  <a:pt x="3820705" y="4611267"/>
                </a:lnTo>
                <a:lnTo>
                  <a:pt x="3813654" y="4596875"/>
                </a:lnTo>
                <a:lnTo>
                  <a:pt x="3806603" y="4586081"/>
                </a:lnTo>
                <a:lnTo>
                  <a:pt x="3797789" y="4577086"/>
                </a:lnTo>
                <a:lnTo>
                  <a:pt x="3774873" y="4584282"/>
                </a:lnTo>
                <a:lnTo>
                  <a:pt x="3764297" y="4589679"/>
                </a:lnTo>
                <a:lnTo>
                  <a:pt x="3755483" y="4595076"/>
                </a:lnTo>
                <a:lnTo>
                  <a:pt x="3748431" y="4602272"/>
                </a:lnTo>
                <a:lnTo>
                  <a:pt x="3741380" y="4609468"/>
                </a:lnTo>
                <a:lnTo>
                  <a:pt x="3736092" y="4618463"/>
                </a:lnTo>
                <a:lnTo>
                  <a:pt x="3732566" y="4627458"/>
                </a:lnTo>
                <a:lnTo>
                  <a:pt x="3714939" y="4609468"/>
                </a:lnTo>
                <a:lnTo>
                  <a:pt x="3695548" y="4593277"/>
                </a:lnTo>
                <a:lnTo>
                  <a:pt x="3672632" y="4580684"/>
                </a:lnTo>
                <a:lnTo>
                  <a:pt x="3660293" y="4575287"/>
                </a:lnTo>
                <a:lnTo>
                  <a:pt x="3647953" y="4571689"/>
                </a:lnTo>
                <a:lnTo>
                  <a:pt x="3630325" y="4568091"/>
                </a:lnTo>
                <a:lnTo>
                  <a:pt x="3614460" y="4564493"/>
                </a:lnTo>
                <a:lnTo>
                  <a:pt x="3598595" y="4562694"/>
                </a:lnTo>
                <a:lnTo>
                  <a:pt x="3582730" y="4562694"/>
                </a:lnTo>
                <a:lnTo>
                  <a:pt x="3566865" y="4564493"/>
                </a:lnTo>
                <a:lnTo>
                  <a:pt x="3552763" y="4566292"/>
                </a:lnTo>
                <a:lnTo>
                  <a:pt x="3538661" y="4569890"/>
                </a:lnTo>
                <a:lnTo>
                  <a:pt x="3524558" y="4573488"/>
                </a:lnTo>
                <a:lnTo>
                  <a:pt x="3510456" y="4578885"/>
                </a:lnTo>
                <a:lnTo>
                  <a:pt x="3498117" y="4584282"/>
                </a:lnTo>
                <a:lnTo>
                  <a:pt x="3475201" y="4598674"/>
                </a:lnTo>
                <a:lnTo>
                  <a:pt x="3455810" y="4616664"/>
                </a:lnTo>
                <a:lnTo>
                  <a:pt x="3438182" y="4636453"/>
                </a:lnTo>
                <a:lnTo>
                  <a:pt x="3441708" y="4641850"/>
                </a:lnTo>
                <a:lnTo>
                  <a:pt x="3450522" y="4650844"/>
                </a:lnTo>
                <a:lnTo>
                  <a:pt x="3457573" y="4658040"/>
                </a:lnTo>
                <a:lnTo>
                  <a:pt x="3466387" y="4663437"/>
                </a:lnTo>
                <a:lnTo>
                  <a:pt x="3476963" y="4670633"/>
                </a:lnTo>
                <a:lnTo>
                  <a:pt x="3489303" y="4676030"/>
                </a:lnTo>
                <a:lnTo>
                  <a:pt x="3480489" y="4685025"/>
                </a:lnTo>
                <a:lnTo>
                  <a:pt x="3473438" y="4697618"/>
                </a:lnTo>
                <a:lnTo>
                  <a:pt x="3466387" y="4708412"/>
                </a:lnTo>
                <a:lnTo>
                  <a:pt x="3461098" y="4721005"/>
                </a:lnTo>
                <a:lnTo>
                  <a:pt x="3157900" y="4804657"/>
                </a:lnTo>
                <a:lnTo>
                  <a:pt x="2812395" y="4901803"/>
                </a:lnTo>
                <a:lnTo>
                  <a:pt x="2421058" y="5016937"/>
                </a:lnTo>
                <a:lnTo>
                  <a:pt x="1982126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355D142-E307-46D2-ABBE-A69BC17C24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158634" cy="36242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0150C5-668E-4AF4-8FA1-109F47087E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5158947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E460FD4-C709-4C4E-8F84-D8A6C0957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5158947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2B0F4B5-E5C2-4382-AED6-B70253040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7101D0A-2711-43A1-B0D0-D28DE6599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338495"/>
            <a:ext cx="4560148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473860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2887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8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dirty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586030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873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60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03AC79-C5BC-47C4-BE09-93769D099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D8A6B18-6BCC-43D0-9936-BD3BE44D28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675873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/ sub header,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2611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3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014A1EC-5405-41F8-8513-97687168C1C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A3D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DFB00B4-33CE-494A-BB67-30294EE0CD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6B1AC2AB-79C7-44D8-A2D9-1231C29DC1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3936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DC5ADA-52A3-432B-8B20-A9CAFB5802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6EE9CC-4125-482F-A81A-190AB27819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24D251-DED8-4921-AF0D-2A2904B0454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3403111-3EFC-4DAD-85D7-8044198F81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615CBB9-63AF-4B2F-9FC5-A4F0B55BCF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F31A10C-43F7-4FF7-B22E-DF6D5225F8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893599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nap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FC1A53-F723-43DA-84D7-F32832A781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50C849-B97A-2B45-B78A-6D9C352F69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B112C1-8A12-499D-A5C6-144C1D435D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964E239-9156-439E-BC01-C60EAFDA7A45}"/>
              </a:ext>
            </a:extLst>
          </p:cNvPr>
          <p:cNvSpPr txBox="1"/>
          <p:nvPr userDrawn="1"/>
        </p:nvSpPr>
        <p:spPr>
          <a:xfrm>
            <a:off x="1415480" y="2707293"/>
            <a:ext cx="46805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prstClr val="black"/>
                </a:solidFill>
                <a:latin typeface="+mn-lt"/>
              </a:rPr>
              <a:t>Prevalence of Mycotoxins Detected </a:t>
            </a:r>
            <a:endParaRPr lang="en-US" sz="160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67F232-8BC4-4D0E-90DF-F58177FF1C99}"/>
              </a:ext>
            </a:extLst>
          </p:cNvPr>
          <p:cNvSpPr txBox="1"/>
          <p:nvPr userDrawn="1"/>
        </p:nvSpPr>
        <p:spPr>
          <a:xfrm>
            <a:off x="8112034" y="2707293"/>
            <a:ext cx="34565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>
                <a:solidFill>
                  <a:prstClr val="black"/>
                </a:solidFill>
                <a:latin typeface="+mn-lt"/>
              </a:rPr>
              <a:t>No. of Mycotoxins per Sample</a:t>
            </a:r>
            <a:endParaRPr lang="en-US" sz="160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08AB7F8-EB80-4A83-9E64-0EDB4F0CFE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758" y="301746"/>
            <a:ext cx="11574484" cy="387798"/>
          </a:xfrm>
        </p:spPr>
        <p:txBody>
          <a:bodyPr/>
          <a:lstStyle>
            <a:lvl1pPr>
              <a:defRPr sz="2800">
                <a:solidFill>
                  <a:srgbClr val="007E4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T" dirty="0"/>
          </a:p>
        </p:txBody>
      </p:sp>
    </p:spTree>
    <p:extLst>
      <p:ext uri="{BB962C8B-B14F-4D97-AF65-F5344CB8AC3E}">
        <p14:creationId xmlns:p14="http://schemas.microsoft.com/office/powerpoint/2010/main" val="316555314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F70065-7B2D-4FE0-AD2F-64E06ECFB5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758" y="301746"/>
            <a:ext cx="11574484" cy="387798"/>
          </a:xfrm>
        </p:spPr>
        <p:txBody>
          <a:bodyPr/>
          <a:lstStyle>
            <a:lvl1pPr>
              <a:defRPr sz="2800">
                <a:solidFill>
                  <a:srgbClr val="007E4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T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FC1A53-F723-43DA-84D7-F32832A781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C50C849-B97A-2B45-B78A-6D9C352F69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B112C1-8A12-499D-A5C6-144C1D435D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786383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132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1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8758" y="981693"/>
            <a:ext cx="11574483" cy="490846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99E0D79-C19B-473C-9DF4-08EC3905F4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758" y="301746"/>
            <a:ext cx="11574484" cy="387798"/>
          </a:xfrm>
        </p:spPr>
        <p:txBody>
          <a:bodyPr/>
          <a:lstStyle>
            <a:lvl1pPr>
              <a:defRPr sz="2800">
                <a:solidFill>
                  <a:srgbClr val="007E4B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AT" dirty="0"/>
          </a:p>
        </p:txBody>
      </p:sp>
    </p:spTree>
    <p:extLst>
      <p:ext uri="{BB962C8B-B14F-4D97-AF65-F5344CB8AC3E}">
        <p14:creationId xmlns:p14="http://schemas.microsoft.com/office/powerpoint/2010/main" val="28240475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ue /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88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4692C1B-5892-44B6-A633-38CA66E6F79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rcRect/>
          <a:stretch/>
        </p:blipFill>
        <p:spPr bwMode="ltGray"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920ECC3-E579-40EC-83D9-A249560D80E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9923" y="3190484"/>
            <a:ext cx="5612156" cy="477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967283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range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noProof="0" dirty="0"/>
              <a:t>Click icon to add image</a:t>
            </a:r>
          </a:p>
        </p:txBody>
      </p:sp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64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noProof="0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455FBE8A-992C-CF4C-B9DC-B962CB9CB11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407987" y="540000"/>
            <a:ext cx="10084464" cy="1828193"/>
          </a:xfrm>
          <a:prstGeom prst="rect">
            <a:avLst/>
          </a:prstGeom>
        </p:spPr>
        <p:txBody>
          <a:bodyPr anchor="t" anchorCtr="0"/>
          <a:lstStyle>
            <a:lvl1pPr algn="l">
              <a:defRPr sz="4400" b="0" i="0" baseline="0">
                <a:solidFill>
                  <a:schemeClr val="bg1"/>
                </a:solidFill>
                <a:latin typeface="Fira Sans Medium" panose="020B0503050000020004" pitchFamily="34" charset="0"/>
              </a:defRPr>
            </a:lvl1pPr>
          </a:lstStyle>
          <a:p>
            <a:r>
              <a:rPr lang="en-US" noProof="0" dirty="0"/>
              <a:t>Performance Solutions </a:t>
            </a:r>
            <a:br>
              <a:rPr lang="en-US" noProof="0" dirty="0"/>
            </a:br>
            <a:r>
              <a:rPr lang="en-US" noProof="0" dirty="0"/>
              <a:t>+ BIOMIN® Divider Slide – Insert image</a:t>
            </a:r>
          </a:p>
        </p:txBody>
      </p:sp>
    </p:spTree>
    <p:extLst>
      <p:ext uri="{BB962C8B-B14F-4D97-AF65-F5344CB8AC3E}">
        <p14:creationId xmlns:p14="http://schemas.microsoft.com/office/powerpoint/2010/main" val="401130121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idx="1" hasCustomPrompt="1"/>
          </p:nvPr>
        </p:nvSpPr>
        <p:spPr>
          <a:xfrm>
            <a:off x="335361" y="1268760"/>
            <a:ext cx="11533930" cy="446449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33481113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range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49865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16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1569660"/>
          </a:xfrm>
        </p:spPr>
        <p:txBody>
          <a:bodyPr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421826318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range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6195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92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4EB59AE-AC0F-C941-B1DF-02A832F761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016188" y="6338495"/>
            <a:ext cx="592232" cy="18661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B86B44D-B716-B04F-BB0D-287972FF6E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57220" y="6338495"/>
            <a:ext cx="4560148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78716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261FE3D0-05F6-46C1-A5EA-B2DE3515BA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0776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35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261FE3D0-05F6-46C1-A5EA-B2DE3515BA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48407E-796A-40CA-AB97-FD69035658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37C9C340-AD27-5841-BF8F-0CE7DDB2F1B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4800" y="-1990"/>
            <a:ext cx="12196800" cy="685999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4758033 h 6858000"/>
              <a:gd name="connsiteX3" fmla="*/ 0 w 12192000"/>
              <a:gd name="connsiteY3" fmla="*/ 6858000 h 6858000"/>
              <a:gd name="connsiteX4" fmla="*/ 0 w 12192000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0 w 12195175"/>
              <a:gd name="connsiteY3" fmla="*/ 6858000 h 6858000"/>
              <a:gd name="connsiteX4" fmla="*/ 0 w 12195175"/>
              <a:gd name="connsiteY4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0 w 12195175"/>
              <a:gd name="connsiteY4" fmla="*/ 6858000 h 6858000"/>
              <a:gd name="connsiteX5" fmla="*/ 0 w 12195175"/>
              <a:gd name="connsiteY5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71075 w 12195175"/>
              <a:gd name="connsiteY4" fmla="*/ 52578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10023475 w 12195175"/>
              <a:gd name="connsiteY4" fmla="*/ 53213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0 w 12195175"/>
              <a:gd name="connsiteY5" fmla="*/ 6858000 h 6858000"/>
              <a:gd name="connsiteX6" fmla="*/ 0 w 12195175"/>
              <a:gd name="connsiteY6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0 w 12195175"/>
              <a:gd name="connsiteY6" fmla="*/ 6858000 h 6858000"/>
              <a:gd name="connsiteX7" fmla="*/ 0 w 12195175"/>
              <a:gd name="connsiteY7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0 w 12195175"/>
              <a:gd name="connsiteY7" fmla="*/ 6858000 h 6858000"/>
              <a:gd name="connsiteX8" fmla="*/ 0 w 12195175"/>
              <a:gd name="connsiteY8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0 w 12195175"/>
              <a:gd name="connsiteY8" fmla="*/ 6858000 h 6858000"/>
              <a:gd name="connsiteX9" fmla="*/ 0 w 12195175"/>
              <a:gd name="connsiteY9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44000 w 12195175"/>
              <a:gd name="connsiteY7" fmla="*/ 5080000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3575 w 12195175"/>
              <a:gd name="connsiteY6" fmla="*/ 52705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9925 w 12195175"/>
              <a:gd name="connsiteY6" fmla="*/ 524510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8375 w 12195175"/>
              <a:gd name="connsiteY4" fmla="*/ 5270500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0 w 12195175"/>
              <a:gd name="connsiteY9" fmla="*/ 6858000 h 6858000"/>
              <a:gd name="connsiteX10" fmla="*/ 0 w 12195175"/>
              <a:gd name="connsiteY10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0 w 12195175"/>
              <a:gd name="connsiteY10" fmla="*/ 6858000 h 6858000"/>
              <a:gd name="connsiteX11" fmla="*/ 0 w 12195175"/>
              <a:gd name="connsiteY11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64383 h 6858000"/>
              <a:gd name="connsiteX3" fmla="*/ 10737850 w 12195175"/>
              <a:gd name="connsiteY3" fmla="*/ 5054600 h 6858000"/>
              <a:gd name="connsiteX4" fmla="*/ 9855200 w 12195175"/>
              <a:gd name="connsiteY4" fmla="*/ 5273675 h 6858000"/>
              <a:gd name="connsiteX5" fmla="*/ 9766300 w 12195175"/>
              <a:gd name="connsiteY5" fmla="*/ 5121275 h 6858000"/>
              <a:gd name="connsiteX6" fmla="*/ 9556750 w 12195175"/>
              <a:gd name="connsiteY6" fmla="*/ 5276850 h 6858000"/>
              <a:gd name="connsiteX7" fmla="*/ 9166225 w 12195175"/>
              <a:gd name="connsiteY7" fmla="*/ 5076825 h 6858000"/>
              <a:gd name="connsiteX8" fmla="*/ 8639175 w 12195175"/>
              <a:gd name="connsiteY8" fmla="*/ 5302250 h 6858000"/>
              <a:gd name="connsiteX9" fmla="*/ 8791575 w 12195175"/>
              <a:gd name="connsiteY9" fmla="*/ 5426075 h 6858000"/>
              <a:gd name="connsiteX10" fmla="*/ 8709025 w 12195175"/>
              <a:gd name="connsiteY10" fmla="*/ 5559425 h 6858000"/>
              <a:gd name="connsiteX11" fmla="*/ 6647422 w 12195175"/>
              <a:gd name="connsiteY11" fmla="*/ 6120030 h 6858000"/>
              <a:gd name="connsiteX12" fmla="*/ 0 w 12195175"/>
              <a:gd name="connsiteY12" fmla="*/ 6858000 h 6858000"/>
              <a:gd name="connsiteX13" fmla="*/ 0 w 12195175"/>
              <a:gd name="connsiteY13" fmla="*/ 0 h 6858000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556750 w 12195175"/>
              <a:gd name="connsiteY6" fmla="*/ 5276850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408277 w 12195175"/>
              <a:gd name="connsiteY6" fmla="*/ 4706327 h 6867485"/>
              <a:gd name="connsiteX7" fmla="*/ 9166225 w 12195175"/>
              <a:gd name="connsiteY7" fmla="*/ 5076825 h 6867485"/>
              <a:gd name="connsiteX8" fmla="*/ 8639175 w 12195175"/>
              <a:gd name="connsiteY8" fmla="*/ 5302250 h 6867485"/>
              <a:gd name="connsiteX9" fmla="*/ 8791575 w 12195175"/>
              <a:gd name="connsiteY9" fmla="*/ 5426075 h 6867485"/>
              <a:gd name="connsiteX10" fmla="*/ 8709025 w 12195175"/>
              <a:gd name="connsiteY10" fmla="*/ 5559425 h 6867485"/>
              <a:gd name="connsiteX11" fmla="*/ 6647422 w 12195175"/>
              <a:gd name="connsiteY11" fmla="*/ 6120030 h 6867485"/>
              <a:gd name="connsiteX12" fmla="*/ 4105315 w 12195175"/>
              <a:gd name="connsiteY12" fmla="*/ 6867485 h 6867485"/>
              <a:gd name="connsiteX13" fmla="*/ 0 w 12195175"/>
              <a:gd name="connsiteY13" fmla="*/ 6858000 h 6867485"/>
              <a:gd name="connsiteX14" fmla="*/ 0 w 12195175"/>
              <a:gd name="connsiteY14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766300 w 12195175"/>
              <a:gd name="connsiteY5" fmla="*/ 5121275 h 6867485"/>
              <a:gd name="connsiteX6" fmla="*/ 9166225 w 12195175"/>
              <a:gd name="connsiteY6" fmla="*/ 5076825 h 6867485"/>
              <a:gd name="connsiteX7" fmla="*/ 8639175 w 12195175"/>
              <a:gd name="connsiteY7" fmla="*/ 5302250 h 6867485"/>
              <a:gd name="connsiteX8" fmla="*/ 8791575 w 12195175"/>
              <a:gd name="connsiteY8" fmla="*/ 5426075 h 6867485"/>
              <a:gd name="connsiteX9" fmla="*/ 8709025 w 12195175"/>
              <a:gd name="connsiteY9" fmla="*/ 5559425 h 6867485"/>
              <a:gd name="connsiteX10" fmla="*/ 6647422 w 12195175"/>
              <a:gd name="connsiteY10" fmla="*/ 6120030 h 6867485"/>
              <a:gd name="connsiteX11" fmla="*/ 4105315 w 12195175"/>
              <a:gd name="connsiteY11" fmla="*/ 6867485 h 6867485"/>
              <a:gd name="connsiteX12" fmla="*/ 0 w 12195175"/>
              <a:gd name="connsiteY12" fmla="*/ 6858000 h 6867485"/>
              <a:gd name="connsiteX13" fmla="*/ 0 w 12195175"/>
              <a:gd name="connsiteY13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9166225 w 12195175"/>
              <a:gd name="connsiteY5" fmla="*/ 5076825 h 6867485"/>
              <a:gd name="connsiteX6" fmla="*/ 8639175 w 12195175"/>
              <a:gd name="connsiteY6" fmla="*/ 5302250 h 6867485"/>
              <a:gd name="connsiteX7" fmla="*/ 8791575 w 12195175"/>
              <a:gd name="connsiteY7" fmla="*/ 5426075 h 6867485"/>
              <a:gd name="connsiteX8" fmla="*/ 8709025 w 12195175"/>
              <a:gd name="connsiteY8" fmla="*/ 5559425 h 6867485"/>
              <a:gd name="connsiteX9" fmla="*/ 6647422 w 12195175"/>
              <a:gd name="connsiteY9" fmla="*/ 612003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639175 w 12195175"/>
              <a:gd name="connsiteY5" fmla="*/ 5302250 h 6867485"/>
              <a:gd name="connsiteX6" fmla="*/ 8791575 w 12195175"/>
              <a:gd name="connsiteY6" fmla="*/ 5426075 h 6867485"/>
              <a:gd name="connsiteX7" fmla="*/ 8709025 w 12195175"/>
              <a:gd name="connsiteY7" fmla="*/ 5559425 h 6867485"/>
              <a:gd name="connsiteX8" fmla="*/ 6647422 w 12195175"/>
              <a:gd name="connsiteY8" fmla="*/ 612003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91575 w 12195175"/>
              <a:gd name="connsiteY5" fmla="*/ 5426075 h 6867485"/>
              <a:gd name="connsiteX6" fmla="*/ 8709025 w 12195175"/>
              <a:gd name="connsiteY6" fmla="*/ 5559425 h 6867485"/>
              <a:gd name="connsiteX7" fmla="*/ 6647422 w 12195175"/>
              <a:gd name="connsiteY7" fmla="*/ 612003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8709025 w 12195175"/>
              <a:gd name="connsiteY5" fmla="*/ 5559425 h 6867485"/>
              <a:gd name="connsiteX6" fmla="*/ 6647422 w 12195175"/>
              <a:gd name="connsiteY6" fmla="*/ 612003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737850 w 12195175"/>
              <a:gd name="connsiteY3" fmla="*/ 5054600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64383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48929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696293 w 12195175"/>
              <a:gd name="connsiteY3" fmla="*/ 4911436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855200 w 12195175"/>
              <a:gd name="connsiteY4" fmla="*/ 527367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35144 w 12195175"/>
              <a:gd name="connsiteY4" fmla="*/ 5148985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702821 w 12195175"/>
              <a:gd name="connsiteY4" fmla="*/ 5232112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6647422 w 12195175"/>
              <a:gd name="connsiteY5" fmla="*/ 61200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5555 w 12195175"/>
              <a:gd name="connsiteY3" fmla="*/ 4989945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6951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5710 w 12195175"/>
              <a:gd name="connsiteY4" fmla="*/ 5329094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8886324 w 12195175"/>
              <a:gd name="connsiteY5" fmla="*/ 4996830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02535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5234 w 12195175"/>
              <a:gd name="connsiteY4" fmla="*/ 533861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4105315 w 12195175"/>
              <a:gd name="connsiteY6" fmla="*/ 6867485 h 6867485"/>
              <a:gd name="connsiteX7" fmla="*/ 0 w 12195175"/>
              <a:gd name="connsiteY7" fmla="*/ 6858000 h 6867485"/>
              <a:gd name="connsiteX8" fmla="*/ 0 w 12195175"/>
              <a:gd name="connsiteY8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8919012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87264 w 12195175"/>
              <a:gd name="connsiteY6" fmla="*/ 5346700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52344 w 12195175"/>
              <a:gd name="connsiteY6" fmla="*/ 52927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4105315 w 12195175"/>
              <a:gd name="connsiteY7" fmla="*/ 6867485 h 6867485"/>
              <a:gd name="connsiteX8" fmla="*/ 0 w 12195175"/>
              <a:gd name="connsiteY8" fmla="*/ 6858000 h 6867485"/>
              <a:gd name="connsiteX9" fmla="*/ 0 w 12195175"/>
              <a:gd name="connsiteY9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880917 w 12195175"/>
              <a:gd name="connsiteY7" fmla="*/ 54229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503142 w 12195175"/>
              <a:gd name="connsiteY7" fmla="*/ 506730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4105315 w 12195175"/>
              <a:gd name="connsiteY8" fmla="*/ 6867485 h 6867485"/>
              <a:gd name="connsiteX9" fmla="*/ 0 w 12195175"/>
              <a:gd name="connsiteY9" fmla="*/ 6858000 h 6867485"/>
              <a:gd name="connsiteX10" fmla="*/ 0 w 12195175"/>
              <a:gd name="connsiteY10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131716 w 12195175"/>
              <a:gd name="connsiteY8" fmla="*/ 5457825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4105315 w 12195175"/>
              <a:gd name="connsiteY9" fmla="*/ 6867485 h 6867485"/>
              <a:gd name="connsiteX10" fmla="*/ 0 w 12195175"/>
              <a:gd name="connsiteY10" fmla="*/ 6858000 h 6867485"/>
              <a:gd name="connsiteX11" fmla="*/ 0 w 12195175"/>
              <a:gd name="connsiteY11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322191 w 12195175"/>
              <a:gd name="connsiteY9" fmla="*/ 5534025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67485"/>
              <a:gd name="connsiteX1" fmla="*/ 12192000 w 12195175"/>
              <a:gd name="connsiteY1" fmla="*/ 0 h 6867485"/>
              <a:gd name="connsiteX2" fmla="*/ 12195175 w 12195175"/>
              <a:gd name="connsiteY2" fmla="*/ 4707811 h 6867485"/>
              <a:gd name="connsiteX3" fmla="*/ 10768730 w 12195175"/>
              <a:gd name="connsiteY3" fmla="*/ 4999470 h 6867485"/>
              <a:gd name="connsiteX4" fmla="*/ 9312059 w 12195175"/>
              <a:gd name="connsiteY4" fmla="*/ 5344969 h 6867485"/>
              <a:gd name="connsiteX5" fmla="*/ 9254575 w 12195175"/>
              <a:gd name="connsiteY5" fmla="*/ 5234955 h 6867485"/>
              <a:gd name="connsiteX6" fmla="*/ 9090439 w 12195175"/>
              <a:gd name="connsiteY6" fmla="*/ 5356225 h 6867485"/>
              <a:gd name="connsiteX7" fmla="*/ 8369810 w 12195175"/>
              <a:gd name="connsiteY7" fmla="*/ 5378450 h 6867485"/>
              <a:gd name="connsiteX8" fmla="*/ 8493618 w 12195175"/>
              <a:gd name="connsiteY8" fmla="*/ 5473700 h 6867485"/>
              <a:gd name="connsiteX9" fmla="*/ 8436476 w 12195175"/>
              <a:gd name="connsiteY9" fmla="*/ 5556250 h 6867485"/>
              <a:gd name="connsiteX10" fmla="*/ 4105315 w 12195175"/>
              <a:gd name="connsiteY10" fmla="*/ 6867485 h 6867485"/>
              <a:gd name="connsiteX11" fmla="*/ 0 w 12195175"/>
              <a:gd name="connsiteY11" fmla="*/ 6858000 h 6867485"/>
              <a:gd name="connsiteX12" fmla="*/ 0 w 12195175"/>
              <a:gd name="connsiteY12" fmla="*/ 0 h 6867485"/>
              <a:gd name="connsiteX0" fmla="*/ 0 w 12195175"/>
              <a:gd name="connsiteY0" fmla="*/ 0 h 6858000"/>
              <a:gd name="connsiteX1" fmla="*/ 12192000 w 12195175"/>
              <a:gd name="connsiteY1" fmla="*/ 0 h 6858000"/>
              <a:gd name="connsiteX2" fmla="*/ 12195175 w 12195175"/>
              <a:gd name="connsiteY2" fmla="*/ 4707811 h 6858000"/>
              <a:gd name="connsiteX3" fmla="*/ 10768730 w 12195175"/>
              <a:gd name="connsiteY3" fmla="*/ 4999470 h 6858000"/>
              <a:gd name="connsiteX4" fmla="*/ 9312059 w 12195175"/>
              <a:gd name="connsiteY4" fmla="*/ 5344969 h 6858000"/>
              <a:gd name="connsiteX5" fmla="*/ 9254575 w 12195175"/>
              <a:gd name="connsiteY5" fmla="*/ 5234955 h 6858000"/>
              <a:gd name="connsiteX6" fmla="*/ 9090439 w 12195175"/>
              <a:gd name="connsiteY6" fmla="*/ 5356225 h 6858000"/>
              <a:gd name="connsiteX7" fmla="*/ 8369810 w 12195175"/>
              <a:gd name="connsiteY7" fmla="*/ 5378450 h 6858000"/>
              <a:gd name="connsiteX8" fmla="*/ 8493618 w 12195175"/>
              <a:gd name="connsiteY8" fmla="*/ 5473700 h 6858000"/>
              <a:gd name="connsiteX9" fmla="*/ 8436476 w 12195175"/>
              <a:gd name="connsiteY9" fmla="*/ 5556250 h 6858000"/>
              <a:gd name="connsiteX10" fmla="*/ 3191037 w 12195175"/>
              <a:gd name="connsiteY10" fmla="*/ 6642632 h 6858000"/>
              <a:gd name="connsiteX11" fmla="*/ 0 w 12195175"/>
              <a:gd name="connsiteY11" fmla="*/ 6858000 h 6858000"/>
              <a:gd name="connsiteX12" fmla="*/ 0 w 12195175"/>
              <a:gd name="connsiteY12" fmla="*/ 0 h 685800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  <a:gd name="connsiteX0" fmla="*/ 0 w 12195175"/>
              <a:gd name="connsiteY0" fmla="*/ 0 h 6859990"/>
              <a:gd name="connsiteX1" fmla="*/ 12192000 w 12195175"/>
              <a:gd name="connsiteY1" fmla="*/ 0 h 6859990"/>
              <a:gd name="connsiteX2" fmla="*/ 12195175 w 12195175"/>
              <a:gd name="connsiteY2" fmla="*/ 4707811 h 6859990"/>
              <a:gd name="connsiteX3" fmla="*/ 10768730 w 12195175"/>
              <a:gd name="connsiteY3" fmla="*/ 4999470 h 6859990"/>
              <a:gd name="connsiteX4" fmla="*/ 9312059 w 12195175"/>
              <a:gd name="connsiteY4" fmla="*/ 5344969 h 6859990"/>
              <a:gd name="connsiteX5" fmla="*/ 9254575 w 12195175"/>
              <a:gd name="connsiteY5" fmla="*/ 5234955 h 6859990"/>
              <a:gd name="connsiteX6" fmla="*/ 9090439 w 12195175"/>
              <a:gd name="connsiteY6" fmla="*/ 5356225 h 6859990"/>
              <a:gd name="connsiteX7" fmla="*/ 8369810 w 12195175"/>
              <a:gd name="connsiteY7" fmla="*/ 5378450 h 6859990"/>
              <a:gd name="connsiteX8" fmla="*/ 8493618 w 12195175"/>
              <a:gd name="connsiteY8" fmla="*/ 5473700 h 6859990"/>
              <a:gd name="connsiteX9" fmla="*/ 8436476 w 12195175"/>
              <a:gd name="connsiteY9" fmla="*/ 5556250 h 6859990"/>
              <a:gd name="connsiteX10" fmla="*/ 3910469 w 12195175"/>
              <a:gd name="connsiteY10" fmla="*/ 6859990 h 6859990"/>
              <a:gd name="connsiteX11" fmla="*/ 0 w 12195175"/>
              <a:gd name="connsiteY11" fmla="*/ 6858000 h 6859990"/>
              <a:gd name="connsiteX12" fmla="*/ 0 w 12195175"/>
              <a:gd name="connsiteY12" fmla="*/ 0 h 6859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2195175" h="6859990">
                <a:moveTo>
                  <a:pt x="0" y="0"/>
                </a:moveTo>
                <a:lnTo>
                  <a:pt x="12192000" y="0"/>
                </a:lnTo>
                <a:cubicBezTo>
                  <a:pt x="12193058" y="1588128"/>
                  <a:pt x="12194117" y="3119683"/>
                  <a:pt x="12195175" y="4707811"/>
                </a:cubicBezTo>
                <a:cubicBezTo>
                  <a:pt x="11709400" y="4788675"/>
                  <a:pt x="11441520" y="4853951"/>
                  <a:pt x="10768730" y="4999470"/>
                </a:cubicBezTo>
                <a:lnTo>
                  <a:pt x="9312059" y="5344969"/>
                </a:lnTo>
                <a:cubicBezTo>
                  <a:pt x="9297337" y="5292270"/>
                  <a:pt x="9292097" y="5275532"/>
                  <a:pt x="9254575" y="5234955"/>
                </a:cubicBezTo>
                <a:cubicBezTo>
                  <a:pt x="9182717" y="5248473"/>
                  <a:pt x="9110561" y="5300037"/>
                  <a:pt x="9090439" y="5356225"/>
                </a:cubicBezTo>
                <a:cubicBezTo>
                  <a:pt x="9018639" y="5285949"/>
                  <a:pt x="8708605" y="5037673"/>
                  <a:pt x="8369810" y="5378450"/>
                </a:cubicBezTo>
                <a:cubicBezTo>
                  <a:pt x="8429069" y="5436658"/>
                  <a:pt x="8426595" y="5447778"/>
                  <a:pt x="8493618" y="5473700"/>
                </a:cubicBezTo>
                <a:cubicBezTo>
                  <a:pt x="8485682" y="5499629"/>
                  <a:pt x="8472628" y="5489053"/>
                  <a:pt x="8436476" y="5556250"/>
                </a:cubicBezTo>
                <a:cubicBezTo>
                  <a:pt x="7470174" y="5798073"/>
                  <a:pt x="5874545" y="6234593"/>
                  <a:pt x="3910469" y="685999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tIns="144000" rIns="0" anchor="t" anchorCtr="0">
            <a:no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noProof="0"/>
              <a:t>Click icon to add imag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alphaModFix/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le slide</a:t>
            </a:r>
            <a:br>
              <a:rPr lang="en-US" noProof="0"/>
            </a:br>
            <a:r>
              <a:rPr lang="en-US" noProof="0"/>
              <a:t>with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 dirty="0"/>
              <a:t>Subtitle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EFE0FD9E-19F3-4B12-85B5-41EF351D2B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presenter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8C55EFBE-B2FB-4AB7-8CF8-B176B02065F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189806002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/ Title slide without a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8181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59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C7486C6E-BA7D-44B8-8604-130B9AEFF80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0" y="3176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A31DC78-FEFA-7648-B24F-4777ACBDCB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9999" y="540000"/>
            <a:ext cx="8473371" cy="1218795"/>
          </a:xfr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slide</a:t>
            </a:r>
            <a:br>
              <a:rPr lang="en-US" dirty="0"/>
            </a:br>
            <a:r>
              <a:rPr lang="en-US" dirty="0"/>
              <a:t>without an imag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F87B3A-229C-F140-8380-D91564A36F0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540000" y="6048369"/>
            <a:ext cx="2949512" cy="13904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F5D32E61-9B43-FC48-AA7A-BBE2726731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alphaModFix/>
          </a:blip>
          <a:srcRect b="17176"/>
          <a:stretch/>
        </p:blipFill>
        <p:spPr>
          <a:xfrm>
            <a:off x="2524495" y="4654296"/>
            <a:ext cx="9694937" cy="2213189"/>
          </a:xfrm>
          <a:prstGeom prst="rect">
            <a:avLst/>
          </a:prstGeom>
        </p:spPr>
      </p:pic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B8437B03-E825-4678-8778-F41352DF992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white">
          <a:xfrm>
            <a:off x="540000" y="3780000"/>
            <a:ext cx="914400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presenter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80283F45-3DAE-4C4B-B459-E4BF615B2C6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 bwMode="white">
          <a:xfrm>
            <a:off x="540000" y="4170615"/>
            <a:ext cx="9144000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The date and location</a:t>
            </a:r>
          </a:p>
        </p:txBody>
      </p:sp>
    </p:spTree>
    <p:extLst>
      <p:ext uri="{BB962C8B-B14F-4D97-AF65-F5344CB8AC3E}">
        <p14:creationId xmlns:p14="http://schemas.microsoft.com/office/powerpoint/2010/main" val="38579118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3EE2C-DEBD-467D-8070-C750483E6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F519BCC-6EF5-4F37-BE58-5A15280AFD1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645D61E-40AA-4D33-8A07-F254F77DD7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60E6C2B-0FE4-4BD1-96F3-22C656624C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6068EF3-C363-4D8F-B18F-A15D508BB5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C5843E7-77CA-4B5A-9281-9367D0BF37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844901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I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1338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83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dirty="0"/>
              <a:t>Click icon to add image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052539A8-3270-4B01-8144-98B9A7185DF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46C7AD5-0DD3-406F-ACB9-ACABB0D58B9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 bwMode="white"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</a:t>
            </a:r>
            <a:br>
              <a:rPr lang="en-US" dirty="0"/>
            </a:br>
            <a:r>
              <a:rPr lang="en-US" dirty="0"/>
              <a:t>with an imag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12DA6DC-0102-4FB2-A547-D52FC941F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49A730C8-66A5-4822-B3D3-B4581797F3A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042546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/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EE593CA-5A71-47B5-BB52-9DC6A35EFF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1370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07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EE593CA-5A71-47B5-BB52-9DC6A35EFF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358A235-8372-4C30-AC5E-0C84C550BE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9B2DD31B-AC35-4633-B170-E9FE0586C92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0" y="3176"/>
            <a:ext cx="12192000" cy="6858000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C6F9732C-624F-5E4D-853A-56B3622003A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0000" y="2088000"/>
            <a:ext cx="9144000" cy="36933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9AE11780-2DEF-46A1-931C-FE31AE9DB4B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40000" y="540000"/>
            <a:ext cx="9144000" cy="1218795"/>
          </a:xfrm>
          <a:prstGeom prst="rect">
            <a:avLst/>
          </a:prstGeom>
        </p:spPr>
        <p:txBody>
          <a:bodyPr anchor="t" anchorCtr="0"/>
          <a:lstStyle>
            <a:lvl1pPr algn="l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 slide</a:t>
            </a:r>
            <a:br>
              <a:rPr lang="en-US" dirty="0"/>
            </a:br>
            <a:r>
              <a:rPr lang="en-US" dirty="0"/>
              <a:t>without an imag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7E7040-148D-4696-B284-24E3FD27183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85137F-B8FB-48C3-B162-ABBE7B9871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0EA4E02A-F812-44E1-930E-E387B9F33F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600713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501323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31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86F02DC-70AF-4281-AFBA-BCAB285C40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2F7AC56-F0FB-4742-98ED-2C89A977A9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DA14C9DD-C4AE-4F0C-B9F0-FCA15CD801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282DA73-2EBE-4BD4-865B-DE0EBC9453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445755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559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55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8E589E12-1854-4953-9331-7725BED7601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8313" y="1800225"/>
            <a:ext cx="11258863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110FC02-B841-447E-81D7-1D189745B93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FC21C4-5401-4164-91BA-DC24D7BB1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1EE1A1E3-31FD-4EA7-BCB2-F721C7ECF8A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9889437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07407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9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1800225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8A6B7A4-D943-4831-A643-DDE1410230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11258862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AF9859E-49E6-4991-A101-64768140C36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F9106C1-A74E-4316-9285-24C2D5F0D5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6D8AFE70-5132-4474-A761-AC2C2E7862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116029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2 columns w/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19C220B-BD74-4AFA-8C76-17E98FD8B49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8930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03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19C220B-BD74-4AFA-8C76-17E98FD8B4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409E398-B631-41A7-BAB0-28E015ED588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5AA0D31C-4531-4B2C-96D1-F08EA19DA9C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2232000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CB67DCA0-A3D2-4851-9F58-B21C934762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6000" y="2232000"/>
            <a:ext cx="5391177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34F5A02-45AE-457C-93B5-134D4CA14F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00626E5D-46A4-4917-94D9-76F8EC00A8A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 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1201B17D-2F65-4670-BFA9-9258870A74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2510" y="1769732"/>
            <a:ext cx="5391490" cy="369332"/>
          </a:xfrm>
        </p:spPr>
        <p:txBody>
          <a:bodyPr anchor="b"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 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01EB234-5D8E-472D-AFF8-9F39501AC63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53269602-6D9D-4AB3-B9E6-58FC9FE588B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070633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image 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15F042-46C1-4FCB-B6D7-589B71C29D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6129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27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15F042-46C1-4FCB-B6D7-589B71C29D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E763AC1-7B8A-4444-88F3-9B621FA29C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2" name="Picture Placeholder 19">
            <a:extLst>
              <a:ext uri="{FF2B5EF4-FFF2-40B4-BE49-F238E27FC236}">
                <a16:creationId xmlns:a16="http://schemas.microsoft.com/office/drawing/2014/main" id="{05B7262F-33D1-B34A-95F0-8E3E02B33330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auto">
          <a:xfrm>
            <a:off x="7696460" y="1"/>
            <a:ext cx="4495540" cy="6858000"/>
          </a:xfrm>
          <a:custGeom>
            <a:avLst/>
            <a:gdLst>
              <a:gd name="connsiteX0" fmla="*/ 0 w 3371850"/>
              <a:gd name="connsiteY0" fmla="*/ 0 h 5148263"/>
              <a:gd name="connsiteX1" fmla="*/ 3371850 w 3371850"/>
              <a:gd name="connsiteY1" fmla="*/ 0 h 5148263"/>
              <a:gd name="connsiteX2" fmla="*/ 3371850 w 3371850"/>
              <a:gd name="connsiteY2" fmla="*/ 4460151 h 5148263"/>
              <a:gd name="connsiteX3" fmla="*/ 3333102 w 3371850"/>
              <a:gd name="connsiteY3" fmla="*/ 4467347 h 5148263"/>
              <a:gd name="connsiteX4" fmla="*/ 3280265 w 3371850"/>
              <a:gd name="connsiteY4" fmla="*/ 4476342 h 5148263"/>
              <a:gd name="connsiteX5" fmla="*/ 3202770 w 3371850"/>
              <a:gd name="connsiteY5" fmla="*/ 4490734 h 5148263"/>
              <a:gd name="connsiteX6" fmla="*/ 3100617 w 3371850"/>
              <a:gd name="connsiteY6" fmla="*/ 4512322 h 5148263"/>
              <a:gd name="connsiteX7" fmla="*/ 2972046 w 3371850"/>
              <a:gd name="connsiteY7" fmla="*/ 4541105 h 5148263"/>
              <a:gd name="connsiteX8" fmla="*/ 2813534 w 3371850"/>
              <a:gd name="connsiteY8" fmla="*/ 4578884 h 5148263"/>
              <a:gd name="connsiteX9" fmla="*/ 2623318 w 3371850"/>
              <a:gd name="connsiteY9" fmla="*/ 4625658 h 5148263"/>
              <a:gd name="connsiteX10" fmla="*/ 2618035 w 3371850"/>
              <a:gd name="connsiteY10" fmla="*/ 4611266 h 5148263"/>
              <a:gd name="connsiteX11" fmla="*/ 2610990 w 3371850"/>
              <a:gd name="connsiteY11" fmla="*/ 4596874 h 5148263"/>
              <a:gd name="connsiteX12" fmla="*/ 2603945 w 3371850"/>
              <a:gd name="connsiteY12" fmla="*/ 4586080 h 5148263"/>
              <a:gd name="connsiteX13" fmla="*/ 2595139 w 3371850"/>
              <a:gd name="connsiteY13" fmla="*/ 4577085 h 5148263"/>
              <a:gd name="connsiteX14" fmla="*/ 2572242 w 3371850"/>
              <a:gd name="connsiteY14" fmla="*/ 4584281 h 5148263"/>
              <a:gd name="connsiteX15" fmla="*/ 2561675 w 3371850"/>
              <a:gd name="connsiteY15" fmla="*/ 4589678 h 5148263"/>
              <a:gd name="connsiteX16" fmla="*/ 2552869 w 3371850"/>
              <a:gd name="connsiteY16" fmla="*/ 4595075 h 5148263"/>
              <a:gd name="connsiteX17" fmla="*/ 2545824 w 3371850"/>
              <a:gd name="connsiteY17" fmla="*/ 4602271 h 5148263"/>
              <a:gd name="connsiteX18" fmla="*/ 2538779 w 3371850"/>
              <a:gd name="connsiteY18" fmla="*/ 4609467 h 5148263"/>
              <a:gd name="connsiteX19" fmla="*/ 2533495 w 3371850"/>
              <a:gd name="connsiteY19" fmla="*/ 4618462 h 5148263"/>
              <a:gd name="connsiteX20" fmla="*/ 2529972 w 3371850"/>
              <a:gd name="connsiteY20" fmla="*/ 4627457 h 5148263"/>
              <a:gd name="connsiteX21" fmla="*/ 2512360 w 3371850"/>
              <a:gd name="connsiteY21" fmla="*/ 4609467 h 5148263"/>
              <a:gd name="connsiteX22" fmla="*/ 2492986 w 3371850"/>
              <a:gd name="connsiteY22" fmla="*/ 4593276 h 5148263"/>
              <a:gd name="connsiteX23" fmla="*/ 2470090 w 3371850"/>
              <a:gd name="connsiteY23" fmla="*/ 4580683 h 5148263"/>
              <a:gd name="connsiteX24" fmla="*/ 2457761 w 3371850"/>
              <a:gd name="connsiteY24" fmla="*/ 4575286 h 5148263"/>
              <a:gd name="connsiteX25" fmla="*/ 2445432 w 3371850"/>
              <a:gd name="connsiteY25" fmla="*/ 4571688 h 5148263"/>
              <a:gd name="connsiteX26" fmla="*/ 2427820 w 3371850"/>
              <a:gd name="connsiteY26" fmla="*/ 4568090 h 5148263"/>
              <a:gd name="connsiteX27" fmla="*/ 2411968 w 3371850"/>
              <a:gd name="connsiteY27" fmla="*/ 4564492 h 5148263"/>
              <a:gd name="connsiteX28" fmla="*/ 2396117 w 3371850"/>
              <a:gd name="connsiteY28" fmla="*/ 4562693 h 5148263"/>
              <a:gd name="connsiteX29" fmla="*/ 2380266 w 3371850"/>
              <a:gd name="connsiteY29" fmla="*/ 4562693 h 5148263"/>
              <a:gd name="connsiteX30" fmla="*/ 2364415 w 3371850"/>
              <a:gd name="connsiteY30" fmla="*/ 4564492 h 5148263"/>
              <a:gd name="connsiteX31" fmla="*/ 2350325 w 3371850"/>
              <a:gd name="connsiteY31" fmla="*/ 4566291 h 5148263"/>
              <a:gd name="connsiteX32" fmla="*/ 2336235 w 3371850"/>
              <a:gd name="connsiteY32" fmla="*/ 4569889 h 5148263"/>
              <a:gd name="connsiteX33" fmla="*/ 2322145 w 3371850"/>
              <a:gd name="connsiteY33" fmla="*/ 4573487 h 5148263"/>
              <a:gd name="connsiteX34" fmla="*/ 2308055 w 3371850"/>
              <a:gd name="connsiteY34" fmla="*/ 4578884 h 5148263"/>
              <a:gd name="connsiteX35" fmla="*/ 2295726 w 3371850"/>
              <a:gd name="connsiteY35" fmla="*/ 4584281 h 5148263"/>
              <a:gd name="connsiteX36" fmla="*/ 2272830 w 3371850"/>
              <a:gd name="connsiteY36" fmla="*/ 4598673 h 5148263"/>
              <a:gd name="connsiteX37" fmla="*/ 2253456 w 3371850"/>
              <a:gd name="connsiteY37" fmla="*/ 4616663 h 5148263"/>
              <a:gd name="connsiteX38" fmla="*/ 2235843 w 3371850"/>
              <a:gd name="connsiteY38" fmla="*/ 4636452 h 5148263"/>
              <a:gd name="connsiteX39" fmla="*/ 2239366 w 3371850"/>
              <a:gd name="connsiteY39" fmla="*/ 4641849 h 5148263"/>
              <a:gd name="connsiteX40" fmla="*/ 2248172 w 3371850"/>
              <a:gd name="connsiteY40" fmla="*/ 4650843 h 5148263"/>
              <a:gd name="connsiteX41" fmla="*/ 2255217 w 3371850"/>
              <a:gd name="connsiteY41" fmla="*/ 4658039 h 5148263"/>
              <a:gd name="connsiteX42" fmla="*/ 2264023 w 3371850"/>
              <a:gd name="connsiteY42" fmla="*/ 4663436 h 5148263"/>
              <a:gd name="connsiteX43" fmla="*/ 2274591 w 3371850"/>
              <a:gd name="connsiteY43" fmla="*/ 4670632 h 5148263"/>
              <a:gd name="connsiteX44" fmla="*/ 2286920 w 3371850"/>
              <a:gd name="connsiteY44" fmla="*/ 4676029 h 5148263"/>
              <a:gd name="connsiteX45" fmla="*/ 2278113 w 3371850"/>
              <a:gd name="connsiteY45" fmla="*/ 4685024 h 5148263"/>
              <a:gd name="connsiteX46" fmla="*/ 2271068 w 3371850"/>
              <a:gd name="connsiteY46" fmla="*/ 4697617 h 5148263"/>
              <a:gd name="connsiteX47" fmla="*/ 2264023 w 3371850"/>
              <a:gd name="connsiteY47" fmla="*/ 4708411 h 5148263"/>
              <a:gd name="connsiteX48" fmla="*/ 2258740 w 3371850"/>
              <a:gd name="connsiteY48" fmla="*/ 4721004 h 5148263"/>
              <a:gd name="connsiteX49" fmla="*/ 1955805 w 3371850"/>
              <a:gd name="connsiteY49" fmla="*/ 4804656 h 5148263"/>
              <a:gd name="connsiteX50" fmla="*/ 1610599 w 3371850"/>
              <a:gd name="connsiteY50" fmla="*/ 4901802 h 5148263"/>
              <a:gd name="connsiteX51" fmla="*/ 1219602 w 3371850"/>
              <a:gd name="connsiteY51" fmla="*/ 5016936 h 5148263"/>
              <a:gd name="connsiteX52" fmla="*/ 781050 w 3371850"/>
              <a:gd name="connsiteY52" fmla="*/ 5148262 h 5148263"/>
              <a:gd name="connsiteX53" fmla="*/ 3371850 w 3371850"/>
              <a:gd name="connsiteY53" fmla="*/ 5148262 h 5148263"/>
              <a:gd name="connsiteX54" fmla="*/ 3371850 w 3371850"/>
              <a:gd name="connsiteY54" fmla="*/ 5148263 h 5148263"/>
              <a:gd name="connsiteX55" fmla="*/ 0 w 337185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3371850" h="5148263">
                <a:moveTo>
                  <a:pt x="0" y="0"/>
                </a:moveTo>
                <a:lnTo>
                  <a:pt x="3371850" y="0"/>
                </a:lnTo>
                <a:lnTo>
                  <a:pt x="3371850" y="4460151"/>
                </a:lnTo>
                <a:lnTo>
                  <a:pt x="3333102" y="4467347"/>
                </a:lnTo>
                <a:lnTo>
                  <a:pt x="3280265" y="4476342"/>
                </a:lnTo>
                <a:lnTo>
                  <a:pt x="3202770" y="4490734"/>
                </a:lnTo>
                <a:lnTo>
                  <a:pt x="3100617" y="4512322"/>
                </a:lnTo>
                <a:lnTo>
                  <a:pt x="2972046" y="4541105"/>
                </a:lnTo>
                <a:lnTo>
                  <a:pt x="2813534" y="4578884"/>
                </a:lnTo>
                <a:lnTo>
                  <a:pt x="2623318" y="4625658"/>
                </a:lnTo>
                <a:lnTo>
                  <a:pt x="2618035" y="4611266"/>
                </a:lnTo>
                <a:lnTo>
                  <a:pt x="2610990" y="4596874"/>
                </a:lnTo>
                <a:lnTo>
                  <a:pt x="2603945" y="4586080"/>
                </a:lnTo>
                <a:lnTo>
                  <a:pt x="2595139" y="4577085"/>
                </a:lnTo>
                <a:lnTo>
                  <a:pt x="2572242" y="4584281"/>
                </a:lnTo>
                <a:lnTo>
                  <a:pt x="2561675" y="4589678"/>
                </a:lnTo>
                <a:lnTo>
                  <a:pt x="2552869" y="4595075"/>
                </a:lnTo>
                <a:lnTo>
                  <a:pt x="2545824" y="4602271"/>
                </a:lnTo>
                <a:lnTo>
                  <a:pt x="2538779" y="4609467"/>
                </a:lnTo>
                <a:lnTo>
                  <a:pt x="2533495" y="4618462"/>
                </a:lnTo>
                <a:lnTo>
                  <a:pt x="2529972" y="4627457"/>
                </a:lnTo>
                <a:lnTo>
                  <a:pt x="2512360" y="4609467"/>
                </a:lnTo>
                <a:lnTo>
                  <a:pt x="2492986" y="4593276"/>
                </a:lnTo>
                <a:lnTo>
                  <a:pt x="2470090" y="4580683"/>
                </a:lnTo>
                <a:lnTo>
                  <a:pt x="2457761" y="4575286"/>
                </a:lnTo>
                <a:lnTo>
                  <a:pt x="2445432" y="4571688"/>
                </a:lnTo>
                <a:lnTo>
                  <a:pt x="2427820" y="4568090"/>
                </a:lnTo>
                <a:lnTo>
                  <a:pt x="2411968" y="4564492"/>
                </a:lnTo>
                <a:lnTo>
                  <a:pt x="2396117" y="4562693"/>
                </a:lnTo>
                <a:lnTo>
                  <a:pt x="2380266" y="4562693"/>
                </a:lnTo>
                <a:lnTo>
                  <a:pt x="2364415" y="4564492"/>
                </a:lnTo>
                <a:lnTo>
                  <a:pt x="2350325" y="4566291"/>
                </a:lnTo>
                <a:lnTo>
                  <a:pt x="2336235" y="4569889"/>
                </a:lnTo>
                <a:lnTo>
                  <a:pt x="2322145" y="4573487"/>
                </a:lnTo>
                <a:lnTo>
                  <a:pt x="2308055" y="4578884"/>
                </a:lnTo>
                <a:lnTo>
                  <a:pt x="2295726" y="4584281"/>
                </a:lnTo>
                <a:lnTo>
                  <a:pt x="2272830" y="4598673"/>
                </a:lnTo>
                <a:lnTo>
                  <a:pt x="2253456" y="4616663"/>
                </a:lnTo>
                <a:lnTo>
                  <a:pt x="2235843" y="4636452"/>
                </a:lnTo>
                <a:lnTo>
                  <a:pt x="2239366" y="4641849"/>
                </a:lnTo>
                <a:lnTo>
                  <a:pt x="2248172" y="4650843"/>
                </a:lnTo>
                <a:lnTo>
                  <a:pt x="2255217" y="4658039"/>
                </a:lnTo>
                <a:lnTo>
                  <a:pt x="2264023" y="4663436"/>
                </a:lnTo>
                <a:lnTo>
                  <a:pt x="2274591" y="4670632"/>
                </a:lnTo>
                <a:lnTo>
                  <a:pt x="2286920" y="4676029"/>
                </a:lnTo>
                <a:lnTo>
                  <a:pt x="2278113" y="4685024"/>
                </a:lnTo>
                <a:lnTo>
                  <a:pt x="2271068" y="4697617"/>
                </a:lnTo>
                <a:lnTo>
                  <a:pt x="2264023" y="4708411"/>
                </a:lnTo>
                <a:lnTo>
                  <a:pt x="2258740" y="4721004"/>
                </a:lnTo>
                <a:lnTo>
                  <a:pt x="1955805" y="4804656"/>
                </a:lnTo>
                <a:lnTo>
                  <a:pt x="1610599" y="4901802"/>
                </a:lnTo>
                <a:lnTo>
                  <a:pt x="1219602" y="5016936"/>
                </a:lnTo>
                <a:lnTo>
                  <a:pt x="781050" y="5148262"/>
                </a:lnTo>
                <a:lnTo>
                  <a:pt x="3371850" y="5148262"/>
                </a:lnTo>
                <a:lnTo>
                  <a:pt x="337185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38353E38-92D9-4256-A046-61F5C0855A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6743124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907D54-ECB7-4185-A0E2-E0C2628BC0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6743124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3DDBFE5F-1A05-41BA-A463-6D9DFCEAB0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6743124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53C0BAD-6501-432C-BDEE-DDD9D0A4FA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14C2CD50-5B04-4D3D-BA05-74D0E97B10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14432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07877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image 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2BAB836-C9B1-4F02-BEDD-1902625C3D8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1774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51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2BAB836-C9B1-4F02-BEDD-1902625C3D8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E80C3687-36C5-4171-B057-30559693390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0" name="Picture Placeholder 21">
            <a:extLst>
              <a:ext uri="{FF2B5EF4-FFF2-40B4-BE49-F238E27FC236}">
                <a16:creationId xmlns:a16="http://schemas.microsoft.com/office/drawing/2014/main" id="{3E210B19-5567-EC4C-82D7-46BB70171659}"/>
              </a:ext>
            </a:extLst>
          </p:cNvPr>
          <p:cNvSpPr>
            <a:spLocks noGrp="1" noChangeAspect="1"/>
          </p:cNvSpPr>
          <p:nvPr>
            <p:ph type="pic" sz="quarter" idx="17" hasCustomPrompt="1"/>
          </p:nvPr>
        </p:nvSpPr>
        <p:spPr bwMode="auto">
          <a:xfrm>
            <a:off x="6097411" y="0"/>
            <a:ext cx="6094589" cy="6858000"/>
          </a:xfrm>
          <a:custGeom>
            <a:avLst/>
            <a:gdLst>
              <a:gd name="connsiteX0" fmla="*/ 0 w 4575175"/>
              <a:gd name="connsiteY0" fmla="*/ 0 h 5148263"/>
              <a:gd name="connsiteX1" fmla="*/ 4575175 w 4575175"/>
              <a:gd name="connsiteY1" fmla="*/ 0 h 5148263"/>
              <a:gd name="connsiteX2" fmla="*/ 4575175 w 4575175"/>
              <a:gd name="connsiteY2" fmla="*/ 4460152 h 5148263"/>
              <a:gd name="connsiteX3" fmla="*/ 4536394 w 4575175"/>
              <a:gd name="connsiteY3" fmla="*/ 4467348 h 5148263"/>
              <a:gd name="connsiteX4" fmla="*/ 4483511 w 4575175"/>
              <a:gd name="connsiteY4" fmla="*/ 4476343 h 5148263"/>
              <a:gd name="connsiteX5" fmla="*/ 4405948 w 4575175"/>
              <a:gd name="connsiteY5" fmla="*/ 4490735 h 5148263"/>
              <a:gd name="connsiteX6" fmla="*/ 4303707 w 4575175"/>
              <a:gd name="connsiteY6" fmla="*/ 4512323 h 5148263"/>
              <a:gd name="connsiteX7" fmla="*/ 4175024 w 4575175"/>
              <a:gd name="connsiteY7" fmla="*/ 4541106 h 5148263"/>
              <a:gd name="connsiteX8" fmla="*/ 4016374 w 4575175"/>
              <a:gd name="connsiteY8" fmla="*/ 4578885 h 5148263"/>
              <a:gd name="connsiteX9" fmla="*/ 3825994 w 4575175"/>
              <a:gd name="connsiteY9" fmla="*/ 4625659 h 5148263"/>
              <a:gd name="connsiteX10" fmla="*/ 3820705 w 4575175"/>
              <a:gd name="connsiteY10" fmla="*/ 4611267 h 5148263"/>
              <a:gd name="connsiteX11" fmla="*/ 3813654 w 4575175"/>
              <a:gd name="connsiteY11" fmla="*/ 4596875 h 5148263"/>
              <a:gd name="connsiteX12" fmla="*/ 3806603 w 4575175"/>
              <a:gd name="connsiteY12" fmla="*/ 4586081 h 5148263"/>
              <a:gd name="connsiteX13" fmla="*/ 3797789 w 4575175"/>
              <a:gd name="connsiteY13" fmla="*/ 4577086 h 5148263"/>
              <a:gd name="connsiteX14" fmla="*/ 3774873 w 4575175"/>
              <a:gd name="connsiteY14" fmla="*/ 4584282 h 5148263"/>
              <a:gd name="connsiteX15" fmla="*/ 3764297 w 4575175"/>
              <a:gd name="connsiteY15" fmla="*/ 4589679 h 5148263"/>
              <a:gd name="connsiteX16" fmla="*/ 3755483 w 4575175"/>
              <a:gd name="connsiteY16" fmla="*/ 4595076 h 5148263"/>
              <a:gd name="connsiteX17" fmla="*/ 3748431 w 4575175"/>
              <a:gd name="connsiteY17" fmla="*/ 4602272 h 5148263"/>
              <a:gd name="connsiteX18" fmla="*/ 3741380 w 4575175"/>
              <a:gd name="connsiteY18" fmla="*/ 4609468 h 5148263"/>
              <a:gd name="connsiteX19" fmla="*/ 3736092 w 4575175"/>
              <a:gd name="connsiteY19" fmla="*/ 4618463 h 5148263"/>
              <a:gd name="connsiteX20" fmla="*/ 3732566 w 4575175"/>
              <a:gd name="connsiteY20" fmla="*/ 4627458 h 5148263"/>
              <a:gd name="connsiteX21" fmla="*/ 3714939 w 4575175"/>
              <a:gd name="connsiteY21" fmla="*/ 4609468 h 5148263"/>
              <a:gd name="connsiteX22" fmla="*/ 3695548 w 4575175"/>
              <a:gd name="connsiteY22" fmla="*/ 4593277 h 5148263"/>
              <a:gd name="connsiteX23" fmla="*/ 3672632 w 4575175"/>
              <a:gd name="connsiteY23" fmla="*/ 4580684 h 5148263"/>
              <a:gd name="connsiteX24" fmla="*/ 3660293 w 4575175"/>
              <a:gd name="connsiteY24" fmla="*/ 4575287 h 5148263"/>
              <a:gd name="connsiteX25" fmla="*/ 3647953 w 4575175"/>
              <a:gd name="connsiteY25" fmla="*/ 4571689 h 5148263"/>
              <a:gd name="connsiteX26" fmla="*/ 3630325 w 4575175"/>
              <a:gd name="connsiteY26" fmla="*/ 4568091 h 5148263"/>
              <a:gd name="connsiteX27" fmla="*/ 3614460 w 4575175"/>
              <a:gd name="connsiteY27" fmla="*/ 4564493 h 5148263"/>
              <a:gd name="connsiteX28" fmla="*/ 3598595 w 4575175"/>
              <a:gd name="connsiteY28" fmla="*/ 4562694 h 5148263"/>
              <a:gd name="connsiteX29" fmla="*/ 3582730 w 4575175"/>
              <a:gd name="connsiteY29" fmla="*/ 4562694 h 5148263"/>
              <a:gd name="connsiteX30" fmla="*/ 3566865 w 4575175"/>
              <a:gd name="connsiteY30" fmla="*/ 4564493 h 5148263"/>
              <a:gd name="connsiteX31" fmla="*/ 3552763 w 4575175"/>
              <a:gd name="connsiteY31" fmla="*/ 4566292 h 5148263"/>
              <a:gd name="connsiteX32" fmla="*/ 3538661 w 4575175"/>
              <a:gd name="connsiteY32" fmla="*/ 4569890 h 5148263"/>
              <a:gd name="connsiteX33" fmla="*/ 3524558 w 4575175"/>
              <a:gd name="connsiteY33" fmla="*/ 4573488 h 5148263"/>
              <a:gd name="connsiteX34" fmla="*/ 3510456 w 4575175"/>
              <a:gd name="connsiteY34" fmla="*/ 4578885 h 5148263"/>
              <a:gd name="connsiteX35" fmla="*/ 3498117 w 4575175"/>
              <a:gd name="connsiteY35" fmla="*/ 4584282 h 5148263"/>
              <a:gd name="connsiteX36" fmla="*/ 3475201 w 4575175"/>
              <a:gd name="connsiteY36" fmla="*/ 4598674 h 5148263"/>
              <a:gd name="connsiteX37" fmla="*/ 3455810 w 4575175"/>
              <a:gd name="connsiteY37" fmla="*/ 4616664 h 5148263"/>
              <a:gd name="connsiteX38" fmla="*/ 3438182 w 4575175"/>
              <a:gd name="connsiteY38" fmla="*/ 4636453 h 5148263"/>
              <a:gd name="connsiteX39" fmla="*/ 3441708 w 4575175"/>
              <a:gd name="connsiteY39" fmla="*/ 4641850 h 5148263"/>
              <a:gd name="connsiteX40" fmla="*/ 3450522 w 4575175"/>
              <a:gd name="connsiteY40" fmla="*/ 4650844 h 5148263"/>
              <a:gd name="connsiteX41" fmla="*/ 3457573 w 4575175"/>
              <a:gd name="connsiteY41" fmla="*/ 4658040 h 5148263"/>
              <a:gd name="connsiteX42" fmla="*/ 3466387 w 4575175"/>
              <a:gd name="connsiteY42" fmla="*/ 4663437 h 5148263"/>
              <a:gd name="connsiteX43" fmla="*/ 3476963 w 4575175"/>
              <a:gd name="connsiteY43" fmla="*/ 4670633 h 5148263"/>
              <a:gd name="connsiteX44" fmla="*/ 3489303 w 4575175"/>
              <a:gd name="connsiteY44" fmla="*/ 4676030 h 5148263"/>
              <a:gd name="connsiteX45" fmla="*/ 3480489 w 4575175"/>
              <a:gd name="connsiteY45" fmla="*/ 4685025 h 5148263"/>
              <a:gd name="connsiteX46" fmla="*/ 3473438 w 4575175"/>
              <a:gd name="connsiteY46" fmla="*/ 4697618 h 5148263"/>
              <a:gd name="connsiteX47" fmla="*/ 3466387 w 4575175"/>
              <a:gd name="connsiteY47" fmla="*/ 4708412 h 5148263"/>
              <a:gd name="connsiteX48" fmla="*/ 3461098 w 4575175"/>
              <a:gd name="connsiteY48" fmla="*/ 4721005 h 5148263"/>
              <a:gd name="connsiteX49" fmla="*/ 3157900 w 4575175"/>
              <a:gd name="connsiteY49" fmla="*/ 4804657 h 5148263"/>
              <a:gd name="connsiteX50" fmla="*/ 2812395 w 4575175"/>
              <a:gd name="connsiteY50" fmla="*/ 4901803 h 5148263"/>
              <a:gd name="connsiteX51" fmla="*/ 2421058 w 4575175"/>
              <a:gd name="connsiteY51" fmla="*/ 5016937 h 5148263"/>
              <a:gd name="connsiteX52" fmla="*/ 1982126 w 4575175"/>
              <a:gd name="connsiteY52" fmla="*/ 5148263 h 5148263"/>
              <a:gd name="connsiteX53" fmla="*/ 0 w 4575175"/>
              <a:gd name="connsiteY53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</a:cxnLst>
            <a:rect l="l" t="t" r="r" b="b"/>
            <a:pathLst>
              <a:path w="4575175" h="5148263">
                <a:moveTo>
                  <a:pt x="0" y="0"/>
                </a:moveTo>
                <a:lnTo>
                  <a:pt x="4575175" y="0"/>
                </a:lnTo>
                <a:lnTo>
                  <a:pt x="4575175" y="4460152"/>
                </a:lnTo>
                <a:lnTo>
                  <a:pt x="4536394" y="4467348"/>
                </a:lnTo>
                <a:lnTo>
                  <a:pt x="4483511" y="4476343"/>
                </a:lnTo>
                <a:lnTo>
                  <a:pt x="4405948" y="4490735"/>
                </a:lnTo>
                <a:lnTo>
                  <a:pt x="4303707" y="4512323"/>
                </a:lnTo>
                <a:lnTo>
                  <a:pt x="4175024" y="4541106"/>
                </a:lnTo>
                <a:lnTo>
                  <a:pt x="4016374" y="4578885"/>
                </a:lnTo>
                <a:lnTo>
                  <a:pt x="3825994" y="4625659"/>
                </a:lnTo>
                <a:lnTo>
                  <a:pt x="3820705" y="4611267"/>
                </a:lnTo>
                <a:lnTo>
                  <a:pt x="3813654" y="4596875"/>
                </a:lnTo>
                <a:lnTo>
                  <a:pt x="3806603" y="4586081"/>
                </a:lnTo>
                <a:lnTo>
                  <a:pt x="3797789" y="4577086"/>
                </a:lnTo>
                <a:lnTo>
                  <a:pt x="3774873" y="4584282"/>
                </a:lnTo>
                <a:lnTo>
                  <a:pt x="3764297" y="4589679"/>
                </a:lnTo>
                <a:lnTo>
                  <a:pt x="3755483" y="4595076"/>
                </a:lnTo>
                <a:lnTo>
                  <a:pt x="3748431" y="4602272"/>
                </a:lnTo>
                <a:lnTo>
                  <a:pt x="3741380" y="4609468"/>
                </a:lnTo>
                <a:lnTo>
                  <a:pt x="3736092" y="4618463"/>
                </a:lnTo>
                <a:lnTo>
                  <a:pt x="3732566" y="4627458"/>
                </a:lnTo>
                <a:lnTo>
                  <a:pt x="3714939" y="4609468"/>
                </a:lnTo>
                <a:lnTo>
                  <a:pt x="3695548" y="4593277"/>
                </a:lnTo>
                <a:lnTo>
                  <a:pt x="3672632" y="4580684"/>
                </a:lnTo>
                <a:lnTo>
                  <a:pt x="3660293" y="4575287"/>
                </a:lnTo>
                <a:lnTo>
                  <a:pt x="3647953" y="4571689"/>
                </a:lnTo>
                <a:lnTo>
                  <a:pt x="3630325" y="4568091"/>
                </a:lnTo>
                <a:lnTo>
                  <a:pt x="3614460" y="4564493"/>
                </a:lnTo>
                <a:lnTo>
                  <a:pt x="3598595" y="4562694"/>
                </a:lnTo>
                <a:lnTo>
                  <a:pt x="3582730" y="4562694"/>
                </a:lnTo>
                <a:lnTo>
                  <a:pt x="3566865" y="4564493"/>
                </a:lnTo>
                <a:lnTo>
                  <a:pt x="3552763" y="4566292"/>
                </a:lnTo>
                <a:lnTo>
                  <a:pt x="3538661" y="4569890"/>
                </a:lnTo>
                <a:lnTo>
                  <a:pt x="3524558" y="4573488"/>
                </a:lnTo>
                <a:lnTo>
                  <a:pt x="3510456" y="4578885"/>
                </a:lnTo>
                <a:lnTo>
                  <a:pt x="3498117" y="4584282"/>
                </a:lnTo>
                <a:lnTo>
                  <a:pt x="3475201" y="4598674"/>
                </a:lnTo>
                <a:lnTo>
                  <a:pt x="3455810" y="4616664"/>
                </a:lnTo>
                <a:lnTo>
                  <a:pt x="3438182" y="4636453"/>
                </a:lnTo>
                <a:lnTo>
                  <a:pt x="3441708" y="4641850"/>
                </a:lnTo>
                <a:lnTo>
                  <a:pt x="3450522" y="4650844"/>
                </a:lnTo>
                <a:lnTo>
                  <a:pt x="3457573" y="4658040"/>
                </a:lnTo>
                <a:lnTo>
                  <a:pt x="3466387" y="4663437"/>
                </a:lnTo>
                <a:lnTo>
                  <a:pt x="3476963" y="4670633"/>
                </a:lnTo>
                <a:lnTo>
                  <a:pt x="3489303" y="4676030"/>
                </a:lnTo>
                <a:lnTo>
                  <a:pt x="3480489" y="4685025"/>
                </a:lnTo>
                <a:lnTo>
                  <a:pt x="3473438" y="4697618"/>
                </a:lnTo>
                <a:lnTo>
                  <a:pt x="3466387" y="4708412"/>
                </a:lnTo>
                <a:lnTo>
                  <a:pt x="3461098" y="4721005"/>
                </a:lnTo>
                <a:lnTo>
                  <a:pt x="3157900" y="4804657"/>
                </a:lnTo>
                <a:lnTo>
                  <a:pt x="2812395" y="4901803"/>
                </a:lnTo>
                <a:lnTo>
                  <a:pt x="2421058" y="5016937"/>
                </a:lnTo>
                <a:lnTo>
                  <a:pt x="1982126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wrap="square" tIns="360000">
            <a:noAutofit/>
          </a:bodyPr>
          <a:lstStyle>
            <a:lvl1pPr marL="0" indent="0" algn="ctr">
              <a:buFontTx/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icon to add image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355D142-E307-46D2-ABBE-A69BC17C242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68313" y="1800225"/>
            <a:ext cx="5158634" cy="362426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20150C5-668E-4AF4-8FA1-109F47087E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000" y="468000"/>
            <a:ext cx="5158947" cy="443198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FE460FD4-C709-4C4E-8F84-D8A6C095749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000" y="936876"/>
            <a:ext cx="5158947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rgbClr val="007E4B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B2B0F4B5-E5C2-4382-AED6-B702530406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B7101D0A-2711-43A1-B0D0-D28DE6599F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800" y="6338495"/>
            <a:ext cx="4560148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30603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sub header, image II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D9F10B-3604-4A25-BB34-00B171D721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2887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75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D9F10B-3604-4A25-BB34-00B171D721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38FF3C5-A0E8-4112-9CA4-CE1DB29F65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6F5B81DF-8442-4242-B8C6-F0D234663EE5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auto">
          <a:xfrm>
            <a:off x="0" y="0"/>
            <a:ext cx="12195107" cy="6858000"/>
          </a:xfrm>
          <a:custGeom>
            <a:avLst/>
            <a:gdLst>
              <a:gd name="connsiteX0" fmla="*/ 0 w 9144000"/>
              <a:gd name="connsiteY0" fmla="*/ 0 h 5148263"/>
              <a:gd name="connsiteX1" fmla="*/ 9144000 w 9144000"/>
              <a:gd name="connsiteY1" fmla="*/ 0 h 5148263"/>
              <a:gd name="connsiteX2" fmla="*/ 9144000 w 9144000"/>
              <a:gd name="connsiteY2" fmla="*/ 4460151 h 5148263"/>
              <a:gd name="connsiteX3" fmla="*/ 9105252 w 9144000"/>
              <a:gd name="connsiteY3" fmla="*/ 4467347 h 5148263"/>
              <a:gd name="connsiteX4" fmla="*/ 9052415 w 9144000"/>
              <a:gd name="connsiteY4" fmla="*/ 4476342 h 5148263"/>
              <a:gd name="connsiteX5" fmla="*/ 8974920 w 9144000"/>
              <a:gd name="connsiteY5" fmla="*/ 4490734 h 5148263"/>
              <a:gd name="connsiteX6" fmla="*/ 8872767 w 9144000"/>
              <a:gd name="connsiteY6" fmla="*/ 4512322 h 5148263"/>
              <a:gd name="connsiteX7" fmla="*/ 8744196 w 9144000"/>
              <a:gd name="connsiteY7" fmla="*/ 4541105 h 5148263"/>
              <a:gd name="connsiteX8" fmla="*/ 8585684 w 9144000"/>
              <a:gd name="connsiteY8" fmla="*/ 4578884 h 5148263"/>
              <a:gd name="connsiteX9" fmla="*/ 8395468 w 9144000"/>
              <a:gd name="connsiteY9" fmla="*/ 4625658 h 5148263"/>
              <a:gd name="connsiteX10" fmla="*/ 8390185 w 9144000"/>
              <a:gd name="connsiteY10" fmla="*/ 4611266 h 5148263"/>
              <a:gd name="connsiteX11" fmla="*/ 8383140 w 9144000"/>
              <a:gd name="connsiteY11" fmla="*/ 4596874 h 5148263"/>
              <a:gd name="connsiteX12" fmla="*/ 8376095 w 9144000"/>
              <a:gd name="connsiteY12" fmla="*/ 4586080 h 5148263"/>
              <a:gd name="connsiteX13" fmla="*/ 8367289 w 9144000"/>
              <a:gd name="connsiteY13" fmla="*/ 4577085 h 5148263"/>
              <a:gd name="connsiteX14" fmla="*/ 8344392 w 9144000"/>
              <a:gd name="connsiteY14" fmla="*/ 4584281 h 5148263"/>
              <a:gd name="connsiteX15" fmla="*/ 8333825 w 9144000"/>
              <a:gd name="connsiteY15" fmla="*/ 4589678 h 5148263"/>
              <a:gd name="connsiteX16" fmla="*/ 8325019 w 9144000"/>
              <a:gd name="connsiteY16" fmla="*/ 4595075 h 5148263"/>
              <a:gd name="connsiteX17" fmla="*/ 8317974 w 9144000"/>
              <a:gd name="connsiteY17" fmla="*/ 4602271 h 5148263"/>
              <a:gd name="connsiteX18" fmla="*/ 8310929 w 9144000"/>
              <a:gd name="connsiteY18" fmla="*/ 4609467 h 5148263"/>
              <a:gd name="connsiteX19" fmla="*/ 8305645 w 9144000"/>
              <a:gd name="connsiteY19" fmla="*/ 4618462 h 5148263"/>
              <a:gd name="connsiteX20" fmla="*/ 8302122 w 9144000"/>
              <a:gd name="connsiteY20" fmla="*/ 4627457 h 5148263"/>
              <a:gd name="connsiteX21" fmla="*/ 8284510 w 9144000"/>
              <a:gd name="connsiteY21" fmla="*/ 4609467 h 5148263"/>
              <a:gd name="connsiteX22" fmla="*/ 8265136 w 9144000"/>
              <a:gd name="connsiteY22" fmla="*/ 4593276 h 5148263"/>
              <a:gd name="connsiteX23" fmla="*/ 8242240 w 9144000"/>
              <a:gd name="connsiteY23" fmla="*/ 4580683 h 5148263"/>
              <a:gd name="connsiteX24" fmla="*/ 8229911 w 9144000"/>
              <a:gd name="connsiteY24" fmla="*/ 4575286 h 5148263"/>
              <a:gd name="connsiteX25" fmla="*/ 8217582 w 9144000"/>
              <a:gd name="connsiteY25" fmla="*/ 4571688 h 5148263"/>
              <a:gd name="connsiteX26" fmla="*/ 8199970 w 9144000"/>
              <a:gd name="connsiteY26" fmla="*/ 4568090 h 5148263"/>
              <a:gd name="connsiteX27" fmla="*/ 8184118 w 9144000"/>
              <a:gd name="connsiteY27" fmla="*/ 4564492 h 5148263"/>
              <a:gd name="connsiteX28" fmla="*/ 8168267 w 9144000"/>
              <a:gd name="connsiteY28" fmla="*/ 4562693 h 5148263"/>
              <a:gd name="connsiteX29" fmla="*/ 8152416 w 9144000"/>
              <a:gd name="connsiteY29" fmla="*/ 4562693 h 5148263"/>
              <a:gd name="connsiteX30" fmla="*/ 8136565 w 9144000"/>
              <a:gd name="connsiteY30" fmla="*/ 4564492 h 5148263"/>
              <a:gd name="connsiteX31" fmla="*/ 8122475 w 9144000"/>
              <a:gd name="connsiteY31" fmla="*/ 4566291 h 5148263"/>
              <a:gd name="connsiteX32" fmla="*/ 8108385 w 9144000"/>
              <a:gd name="connsiteY32" fmla="*/ 4569889 h 5148263"/>
              <a:gd name="connsiteX33" fmla="*/ 8094295 w 9144000"/>
              <a:gd name="connsiteY33" fmla="*/ 4573487 h 5148263"/>
              <a:gd name="connsiteX34" fmla="*/ 8080205 w 9144000"/>
              <a:gd name="connsiteY34" fmla="*/ 4578884 h 5148263"/>
              <a:gd name="connsiteX35" fmla="*/ 8067876 w 9144000"/>
              <a:gd name="connsiteY35" fmla="*/ 4584281 h 5148263"/>
              <a:gd name="connsiteX36" fmla="*/ 8044980 w 9144000"/>
              <a:gd name="connsiteY36" fmla="*/ 4598673 h 5148263"/>
              <a:gd name="connsiteX37" fmla="*/ 8025606 w 9144000"/>
              <a:gd name="connsiteY37" fmla="*/ 4616663 h 5148263"/>
              <a:gd name="connsiteX38" fmla="*/ 8007993 w 9144000"/>
              <a:gd name="connsiteY38" fmla="*/ 4636452 h 5148263"/>
              <a:gd name="connsiteX39" fmla="*/ 8011516 w 9144000"/>
              <a:gd name="connsiteY39" fmla="*/ 4641849 h 5148263"/>
              <a:gd name="connsiteX40" fmla="*/ 8020322 w 9144000"/>
              <a:gd name="connsiteY40" fmla="*/ 4650843 h 5148263"/>
              <a:gd name="connsiteX41" fmla="*/ 8027367 w 9144000"/>
              <a:gd name="connsiteY41" fmla="*/ 4658039 h 5148263"/>
              <a:gd name="connsiteX42" fmla="*/ 8036173 w 9144000"/>
              <a:gd name="connsiteY42" fmla="*/ 4663436 h 5148263"/>
              <a:gd name="connsiteX43" fmla="*/ 8046741 w 9144000"/>
              <a:gd name="connsiteY43" fmla="*/ 4670632 h 5148263"/>
              <a:gd name="connsiteX44" fmla="*/ 8059070 w 9144000"/>
              <a:gd name="connsiteY44" fmla="*/ 4676029 h 5148263"/>
              <a:gd name="connsiteX45" fmla="*/ 8050263 w 9144000"/>
              <a:gd name="connsiteY45" fmla="*/ 4685024 h 5148263"/>
              <a:gd name="connsiteX46" fmla="*/ 8043218 w 9144000"/>
              <a:gd name="connsiteY46" fmla="*/ 4697617 h 5148263"/>
              <a:gd name="connsiteX47" fmla="*/ 8036173 w 9144000"/>
              <a:gd name="connsiteY47" fmla="*/ 4708411 h 5148263"/>
              <a:gd name="connsiteX48" fmla="*/ 8030890 w 9144000"/>
              <a:gd name="connsiteY48" fmla="*/ 4721004 h 5148263"/>
              <a:gd name="connsiteX49" fmla="*/ 7727955 w 9144000"/>
              <a:gd name="connsiteY49" fmla="*/ 4804656 h 5148263"/>
              <a:gd name="connsiteX50" fmla="*/ 7382749 w 9144000"/>
              <a:gd name="connsiteY50" fmla="*/ 4901802 h 5148263"/>
              <a:gd name="connsiteX51" fmla="*/ 6991752 w 9144000"/>
              <a:gd name="connsiteY51" fmla="*/ 5016936 h 5148263"/>
              <a:gd name="connsiteX52" fmla="*/ 6553200 w 9144000"/>
              <a:gd name="connsiteY52" fmla="*/ 5148262 h 5148263"/>
              <a:gd name="connsiteX53" fmla="*/ 9144000 w 9144000"/>
              <a:gd name="connsiteY53" fmla="*/ 5148262 h 5148263"/>
              <a:gd name="connsiteX54" fmla="*/ 9144000 w 9144000"/>
              <a:gd name="connsiteY54" fmla="*/ 5148263 h 5148263"/>
              <a:gd name="connsiteX55" fmla="*/ 0 w 9144000"/>
              <a:gd name="connsiteY55" fmla="*/ 5148263 h 5148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</a:cxnLst>
            <a:rect l="l" t="t" r="r" b="b"/>
            <a:pathLst>
              <a:path w="9144000" h="5148263">
                <a:moveTo>
                  <a:pt x="0" y="0"/>
                </a:moveTo>
                <a:lnTo>
                  <a:pt x="9144000" y="0"/>
                </a:lnTo>
                <a:lnTo>
                  <a:pt x="9144000" y="4460151"/>
                </a:lnTo>
                <a:lnTo>
                  <a:pt x="9105252" y="4467347"/>
                </a:lnTo>
                <a:lnTo>
                  <a:pt x="9052415" y="4476342"/>
                </a:lnTo>
                <a:lnTo>
                  <a:pt x="8974920" y="4490734"/>
                </a:lnTo>
                <a:lnTo>
                  <a:pt x="8872767" y="4512322"/>
                </a:lnTo>
                <a:lnTo>
                  <a:pt x="8744196" y="4541105"/>
                </a:lnTo>
                <a:lnTo>
                  <a:pt x="8585684" y="4578884"/>
                </a:lnTo>
                <a:lnTo>
                  <a:pt x="8395468" y="4625658"/>
                </a:lnTo>
                <a:lnTo>
                  <a:pt x="8390185" y="4611266"/>
                </a:lnTo>
                <a:lnTo>
                  <a:pt x="8383140" y="4596874"/>
                </a:lnTo>
                <a:lnTo>
                  <a:pt x="8376095" y="4586080"/>
                </a:lnTo>
                <a:lnTo>
                  <a:pt x="8367289" y="4577085"/>
                </a:lnTo>
                <a:lnTo>
                  <a:pt x="8344392" y="4584281"/>
                </a:lnTo>
                <a:lnTo>
                  <a:pt x="8333825" y="4589678"/>
                </a:lnTo>
                <a:lnTo>
                  <a:pt x="8325019" y="4595075"/>
                </a:lnTo>
                <a:lnTo>
                  <a:pt x="8317974" y="4602271"/>
                </a:lnTo>
                <a:lnTo>
                  <a:pt x="8310929" y="4609467"/>
                </a:lnTo>
                <a:lnTo>
                  <a:pt x="8305645" y="4618462"/>
                </a:lnTo>
                <a:lnTo>
                  <a:pt x="8302122" y="4627457"/>
                </a:lnTo>
                <a:lnTo>
                  <a:pt x="8284510" y="4609467"/>
                </a:lnTo>
                <a:lnTo>
                  <a:pt x="8265136" y="4593276"/>
                </a:lnTo>
                <a:lnTo>
                  <a:pt x="8242240" y="4580683"/>
                </a:lnTo>
                <a:lnTo>
                  <a:pt x="8229911" y="4575286"/>
                </a:lnTo>
                <a:lnTo>
                  <a:pt x="8217582" y="4571688"/>
                </a:lnTo>
                <a:lnTo>
                  <a:pt x="8199970" y="4568090"/>
                </a:lnTo>
                <a:lnTo>
                  <a:pt x="8184118" y="4564492"/>
                </a:lnTo>
                <a:lnTo>
                  <a:pt x="8168267" y="4562693"/>
                </a:lnTo>
                <a:lnTo>
                  <a:pt x="8152416" y="4562693"/>
                </a:lnTo>
                <a:lnTo>
                  <a:pt x="8136565" y="4564492"/>
                </a:lnTo>
                <a:lnTo>
                  <a:pt x="8122475" y="4566291"/>
                </a:lnTo>
                <a:lnTo>
                  <a:pt x="8108385" y="4569889"/>
                </a:lnTo>
                <a:lnTo>
                  <a:pt x="8094295" y="4573487"/>
                </a:lnTo>
                <a:lnTo>
                  <a:pt x="8080205" y="4578884"/>
                </a:lnTo>
                <a:lnTo>
                  <a:pt x="8067876" y="4584281"/>
                </a:lnTo>
                <a:lnTo>
                  <a:pt x="8044980" y="4598673"/>
                </a:lnTo>
                <a:lnTo>
                  <a:pt x="8025606" y="4616663"/>
                </a:lnTo>
                <a:lnTo>
                  <a:pt x="8007993" y="4636452"/>
                </a:lnTo>
                <a:lnTo>
                  <a:pt x="8011516" y="4641849"/>
                </a:lnTo>
                <a:lnTo>
                  <a:pt x="8020322" y="4650843"/>
                </a:lnTo>
                <a:lnTo>
                  <a:pt x="8027367" y="4658039"/>
                </a:lnTo>
                <a:lnTo>
                  <a:pt x="8036173" y="4663436"/>
                </a:lnTo>
                <a:lnTo>
                  <a:pt x="8046741" y="4670632"/>
                </a:lnTo>
                <a:lnTo>
                  <a:pt x="8059070" y="4676029"/>
                </a:lnTo>
                <a:lnTo>
                  <a:pt x="8050263" y="4685024"/>
                </a:lnTo>
                <a:lnTo>
                  <a:pt x="8043218" y="4697617"/>
                </a:lnTo>
                <a:lnTo>
                  <a:pt x="8036173" y="4708411"/>
                </a:lnTo>
                <a:lnTo>
                  <a:pt x="8030890" y="4721004"/>
                </a:lnTo>
                <a:lnTo>
                  <a:pt x="7727955" y="4804656"/>
                </a:lnTo>
                <a:lnTo>
                  <a:pt x="7382749" y="4901802"/>
                </a:lnTo>
                <a:lnTo>
                  <a:pt x="6991752" y="5016936"/>
                </a:lnTo>
                <a:lnTo>
                  <a:pt x="6553200" y="5148262"/>
                </a:lnTo>
                <a:lnTo>
                  <a:pt x="9144000" y="5148262"/>
                </a:lnTo>
                <a:lnTo>
                  <a:pt x="9144000" y="5148263"/>
                </a:lnTo>
                <a:lnTo>
                  <a:pt x="0" y="5148263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</p:spPr>
        <p:txBody>
          <a:bodyPr vert="horz" wrap="square" lIns="0" tIns="14400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ctr">
              <a:buNone/>
              <a:defRPr lang="en-US" sz="140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252000" lvl="0" indent="-252000" algn="ctr"/>
            <a:r>
              <a:rPr lang="en-US" dirty="0"/>
              <a:t>Click icon to add image</a:t>
            </a:r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39E842B9-D9CA-4763-BCD8-8AECCFA20C8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white">
          <a:xfrm>
            <a:off x="468000" y="946171"/>
            <a:ext cx="11259176" cy="369332"/>
          </a:xfrm>
        </p:spPr>
        <p:txBody>
          <a:bodyPr/>
          <a:lstStyle>
            <a:lvl1pPr marL="0" indent="0">
              <a:spcAft>
                <a:spcPts val="0"/>
              </a:spcAft>
              <a:buNone/>
              <a:defRPr sz="2400" b="0" i="1">
                <a:solidFill>
                  <a:schemeClr val="bg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None/>
              <a:defRPr/>
            </a:lvl2pPr>
            <a:lvl3pPr marL="0" indent="0">
              <a:spcAft>
                <a:spcPts val="0"/>
              </a:spcAft>
              <a:buNone/>
              <a:defRPr/>
            </a:lvl3pPr>
            <a:lvl4pPr marL="0" indent="0">
              <a:spcAft>
                <a:spcPts val="0"/>
              </a:spcAft>
              <a:buNone/>
              <a:defRPr/>
            </a:lvl4pPr>
            <a:lvl5pPr marL="0" indent="0">
              <a:spcAft>
                <a:spcPts val="0"/>
              </a:spcAft>
              <a:buNone/>
              <a:defRPr/>
            </a:lvl5pPr>
          </a:lstStyle>
          <a:p>
            <a:pPr lvl="0"/>
            <a:r>
              <a:rPr lang="en-US" dirty="0"/>
              <a:t>Sub header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8CA1BF8-0DEB-4A3C-B757-CD61169A81D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2F5370-528F-4CD2-B3B7-548D2989FD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 bwMode="white"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A3EDC437-8A4A-4FE1-AC29-0BD7C8876E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45914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/ 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31EDE2A-B38E-4EBB-B9EB-BCCBFDB222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873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99" name="think-cell Slide" r:id="rId5" imgW="345" imgH="355" progId="TCLayout.ActiveDocument.1">
                  <p:embed/>
                </p:oleObj>
              </mc:Choice>
              <mc:Fallback>
                <p:oleObj name="think-cell Slide" r:id="rId5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31EDE2A-B38E-4EBB-B9EB-BCCBFDB222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D1EB118-C843-4ECB-9633-D84548FC29B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3DAC61-49D5-4D21-964C-B8773D0CF4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er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103AC79-C5BC-47C4-BE09-93769D0990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68000" y="6340440"/>
            <a:ext cx="450000" cy="18466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rgbClr val="B2B2B2"/>
                </a:solidFill>
                <a:latin typeface="+mn-lt"/>
              </a:defRPr>
            </a:lvl1pPr>
          </a:lstStyle>
          <a:p>
            <a:fld id="{E118D48E-C7CB-6244-969D-7BAEA9B6226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D8A6B18-6BCC-43D0-9936-BD3BE44D28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8495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rgbClr val="B2B2B2"/>
                </a:solidFill>
                <a:latin typeface="+mn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01500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oleObject" Target="../embeddings/oleObject3.bin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34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vmlDrawing" Target="../drawings/vmlDrawing14.vml"/><Relationship Id="rId26" Type="http://schemas.openxmlformats.org/officeDocument/2006/relationships/oleObject" Target="../embeddings/oleObject14.bin"/><Relationship Id="rId3" Type="http://schemas.openxmlformats.org/officeDocument/2006/relationships/slideLayout" Target="../slideLayouts/slideLayout39.xml"/><Relationship Id="rId21" Type="http://schemas.openxmlformats.org/officeDocument/2006/relationships/tags" Target="../tags/tag2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theme" Target="../theme/theme4.xml"/><Relationship Id="rId25" Type="http://schemas.openxmlformats.org/officeDocument/2006/relationships/tags" Target="../tags/tag3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tags" Target="../tags/tag2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tags" Target="../tags/tag32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tags" Target="../tags/tag31.xml"/><Relationship Id="rId10" Type="http://schemas.openxmlformats.org/officeDocument/2006/relationships/slideLayout" Target="../slideLayouts/slideLayout46.xml"/><Relationship Id="rId19" Type="http://schemas.openxmlformats.org/officeDocument/2006/relationships/tags" Target="../tags/tag27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tags" Target="../tags/tag30.xml"/><Relationship Id="rId27" Type="http://schemas.openxmlformats.org/officeDocument/2006/relationships/image" Target="../media/image7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tags" Target="../tags/tag53.xml"/><Relationship Id="rId3" Type="http://schemas.openxmlformats.org/officeDocument/2006/relationships/slideLayout" Target="../slideLayouts/slideLayout55.xml"/><Relationship Id="rId21" Type="http://schemas.openxmlformats.org/officeDocument/2006/relationships/image" Target="../media/image11.png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tags" Target="../tags/tag52.xml"/><Relationship Id="rId2" Type="http://schemas.openxmlformats.org/officeDocument/2006/relationships/slideLayout" Target="../slideLayouts/slideLayout54.xml"/><Relationship Id="rId16" Type="http://schemas.openxmlformats.org/officeDocument/2006/relationships/vmlDrawing" Target="../drawings/vmlDrawing19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2.xml"/><Relationship Id="rId19" Type="http://schemas.openxmlformats.org/officeDocument/2006/relationships/oleObject" Target="../embeddings/oleObject19.bin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oleObject" Target="../embeddings/oleObject34.bin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tags" Target="../tags/tag83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tags" Target="../tags/tag82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vmlDrawing" Target="../drawings/vmlDrawing34.vml"/><Relationship Id="rId28" Type="http://schemas.openxmlformats.org/officeDocument/2006/relationships/image" Target="../media/image11.png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theme" Target="../theme/theme6.xml"/><Relationship Id="rId27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tags" Target="../tags/tag121.xml"/><Relationship Id="rId3" Type="http://schemas.openxmlformats.org/officeDocument/2006/relationships/slideLayout" Target="../slideLayouts/slideLayout90.xml"/><Relationship Id="rId21" Type="http://schemas.openxmlformats.org/officeDocument/2006/relationships/image" Target="../media/image11.png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tags" Target="../tags/tag120.xml"/><Relationship Id="rId2" Type="http://schemas.openxmlformats.org/officeDocument/2006/relationships/slideLayout" Target="../slideLayouts/slideLayout89.xml"/><Relationship Id="rId16" Type="http://schemas.openxmlformats.org/officeDocument/2006/relationships/vmlDrawing" Target="../drawings/vmlDrawing53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7.xml"/><Relationship Id="rId19" Type="http://schemas.openxmlformats.org/officeDocument/2006/relationships/oleObject" Target="../embeddings/oleObject52.bin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9.xml"/><Relationship Id="rId13" Type="http://schemas.openxmlformats.org/officeDocument/2006/relationships/slideLayout" Target="../slideLayouts/slideLayout114.xml"/><Relationship Id="rId18" Type="http://schemas.openxmlformats.org/officeDocument/2006/relationships/tags" Target="../tags/tag151.xml"/><Relationship Id="rId3" Type="http://schemas.openxmlformats.org/officeDocument/2006/relationships/slideLayout" Target="../slideLayouts/slideLayout104.xml"/><Relationship Id="rId21" Type="http://schemas.openxmlformats.org/officeDocument/2006/relationships/image" Target="../media/image15.png"/><Relationship Id="rId7" Type="http://schemas.openxmlformats.org/officeDocument/2006/relationships/slideLayout" Target="../slideLayouts/slideLayout108.xml"/><Relationship Id="rId12" Type="http://schemas.openxmlformats.org/officeDocument/2006/relationships/slideLayout" Target="../slideLayouts/slideLayout113.xml"/><Relationship Id="rId17" Type="http://schemas.openxmlformats.org/officeDocument/2006/relationships/tags" Target="../tags/tag150.xml"/><Relationship Id="rId2" Type="http://schemas.openxmlformats.org/officeDocument/2006/relationships/slideLayout" Target="../slideLayouts/slideLayout103.xml"/><Relationship Id="rId16" Type="http://schemas.openxmlformats.org/officeDocument/2006/relationships/vmlDrawing" Target="../drawings/vmlDrawing68.v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02.xml"/><Relationship Id="rId6" Type="http://schemas.openxmlformats.org/officeDocument/2006/relationships/slideLayout" Target="../slideLayouts/slideLayout107.xml"/><Relationship Id="rId11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06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11.xml"/><Relationship Id="rId19" Type="http://schemas.openxmlformats.org/officeDocument/2006/relationships/oleObject" Target="../embeddings/oleObject67.bin"/><Relationship Id="rId4" Type="http://schemas.openxmlformats.org/officeDocument/2006/relationships/slideLayout" Target="../slideLayouts/slideLayout105.xml"/><Relationship Id="rId9" Type="http://schemas.openxmlformats.org/officeDocument/2006/relationships/slideLayout" Target="../slideLayouts/slideLayout110.xml"/><Relationship Id="rId14" Type="http://schemas.openxmlformats.org/officeDocument/2006/relationships/slideLayout" Target="../slideLayouts/slideLayout1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7A5D1EE-329D-4677-A78E-6BE05B2C25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AC129BD-93C7-4613-8368-B6EC837E92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C98B8C-F3D0-4F52-847A-1EF9DEE6425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04551F-F41B-4621-90F8-8828196137F3}" type="datetimeFigureOut">
              <a:rPr lang="en-US" smtClean="0"/>
              <a:t>9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D2CDEB-A948-4CBB-8E97-9D08E7AB2F3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92E0A5-F51D-4091-8B1D-2ED444F7F2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C351BEC-DD9E-44D7-97B0-A0F1F96BB474}" type="slidenum">
              <a:rPr lang="en-US" smtClean="0"/>
              <a:t>‹#›</a:t>
            </a:fld>
            <a:endParaRPr lang="en-US"/>
          </a:p>
        </p:txBody>
      </p:sp>
      <p:sp>
        <p:nvSpPr>
          <p:cNvPr id="7" name="MSIPCMContentMarking" descr="{&quot;HashCode&quot;:1396414009,&quot;Placement&quot;:&quot;Header&quot;,&quot;Top&quot;:0.0,&quot;Left&quot;:850.833862,&quot;SlideWidth&quot;:960,&quot;SlideHeight&quot;:540}">
            <a:extLst>
              <a:ext uri="{FF2B5EF4-FFF2-40B4-BE49-F238E27FC236}">
                <a16:creationId xmlns:a16="http://schemas.microsoft.com/office/drawing/2014/main" id="{80595E3B-DDFF-44ED-A066-E085CCE5F41A}"/>
              </a:ext>
            </a:extLst>
          </p:cNvPr>
          <p:cNvSpPr txBox="1"/>
          <p:nvPr userDrawn="1"/>
        </p:nvSpPr>
        <p:spPr>
          <a:xfrm>
            <a:off x="10805590" y="0"/>
            <a:ext cx="138641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737373"/>
                </a:solidFill>
                <a:latin typeface="Calibri" panose="020F0502020204030204" pitchFamily="34" charset="0"/>
              </a:rPr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1048026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CE7BBD8-4032-4BDD-A402-88EA5D799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hu-H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C38895-827C-4DC0-9FE5-48CC296BFBC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hu-H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22E7E6-5D9C-4E8C-B9FD-AFBF0E27DF3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BA7C41-FEEE-4507-9B02-3D900A618879}" type="datetimeFigureOut">
              <a:rPr lang="hu-HU" smtClean="0"/>
              <a:t>2022. 09. 29.</a:t>
            </a:fld>
            <a:endParaRPr lang="hu-H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BE348F-4A58-461B-8B71-A129A1027A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hu-H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66043FB-3901-4E24-8B87-6DB77BDF74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7888ED-9530-49C8-81E9-C877C60EA98D}" type="slidenum">
              <a:rPr lang="hu-HU" smtClean="0"/>
              <a:t>‹#›</a:t>
            </a:fld>
            <a:endParaRPr lang="hu-HU"/>
          </a:p>
        </p:txBody>
      </p:sp>
      <p:sp>
        <p:nvSpPr>
          <p:cNvPr id="7" name="MSIPCMContentMarking" descr="{&quot;HashCode&quot;:1396414009,&quot;Placement&quot;:&quot;Header&quot;,&quot;Top&quot;:0.0,&quot;Left&quot;:850.833862,&quot;SlideWidth&quot;:960,&quot;SlideHeight&quot;:540}">
            <a:extLst>
              <a:ext uri="{FF2B5EF4-FFF2-40B4-BE49-F238E27FC236}">
                <a16:creationId xmlns:a16="http://schemas.microsoft.com/office/drawing/2014/main" id="{61E6FA4F-6838-4F42-AADA-8B9F533EC171}"/>
              </a:ext>
            </a:extLst>
          </p:cNvPr>
          <p:cNvSpPr txBox="1"/>
          <p:nvPr userDrawn="1"/>
        </p:nvSpPr>
        <p:spPr>
          <a:xfrm>
            <a:off x="10805590" y="0"/>
            <a:ext cx="138641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hu-HU" sz="1000">
                <a:solidFill>
                  <a:srgbClr val="737373"/>
                </a:solidFill>
                <a:latin typeface="Calibri" panose="020F0502020204030204" pitchFamily="34" charset="0"/>
              </a:rPr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2783395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hu-H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229993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50" name="think-cell Slide" r:id="rId17" imgW="345" imgH="355" progId="TCLayout.ActiveDocument.1">
                  <p:embed/>
                </p:oleObj>
              </mc:Choice>
              <mc:Fallback>
                <p:oleObj name="think-cell Slide" r:id="rId17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Click to 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6" name="MSIPCMContentMarking" descr="{&quot;HashCode&quot;:1396414009,&quot;Placement&quot;:&quot;Header&quot;,&quot;Top&quot;:0.0,&quot;Left&quot;:850.833862,&quot;SlideWidth&quot;:960,&quot;SlideHeight&quot;:540}">
            <a:extLst>
              <a:ext uri="{FF2B5EF4-FFF2-40B4-BE49-F238E27FC236}">
                <a16:creationId xmlns:a16="http://schemas.microsoft.com/office/drawing/2014/main" id="{F331D4F4-1ECF-4622-9E80-669D8AE2D905}"/>
              </a:ext>
            </a:extLst>
          </p:cNvPr>
          <p:cNvSpPr txBox="1"/>
          <p:nvPr userDrawn="1"/>
        </p:nvSpPr>
        <p:spPr>
          <a:xfrm>
            <a:off x="10805590" y="0"/>
            <a:ext cx="138641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737373"/>
                </a:solidFill>
                <a:latin typeface="Calibri" panose="020F0502020204030204" pitchFamily="34" charset="0"/>
              </a:rPr>
              <a:t>For Internal Use Only</a:t>
            </a:r>
            <a:endParaRPr lang="en-US" sz="1000" dirty="0" err="1">
              <a:solidFill>
                <a:srgbClr val="737373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4292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7" name="Rectangle 2" hidden="1"/>
          <p:cNvGraphicFramePr>
            <a:graphicFrameLocks/>
          </p:cNvGraphicFramePr>
          <p:nvPr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556925534"/>
              </p:ext>
            </p:extLst>
          </p:nvPr>
        </p:nvGraphicFramePr>
        <p:xfrm>
          <a:off x="1" y="0"/>
          <a:ext cx="211666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37" name="think-cell Slide" r:id="rId26" imgW="0" imgH="0" progId="TCLayout.ActiveDocument.1">
                  <p:embed/>
                </p:oleObj>
              </mc:Choice>
              <mc:Fallback>
                <p:oleObj name="think-cell Slide" r:id="rId26" imgW="0" imgH="0" progId="TCLayout.ActiveDocument.1">
                  <p:embed/>
                  <p:pic>
                    <p:nvPicPr>
                      <p:cNvPr id="1027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6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9E6A3D79-7D1A-4692-BA19-2BA21848E2F4}"/>
              </a:ext>
            </a:extLst>
          </p:cNvPr>
          <p:cNvSpPr/>
          <p:nvPr userDrawn="1">
            <p:custDataLst>
              <p:tags r:id="rId20"/>
            </p:custDataLst>
          </p:nvPr>
        </p:nvSpPr>
        <p:spPr bwMode="auto">
          <a:xfrm>
            <a:off x="0" y="0"/>
            <a:ext cx="195385" cy="15875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rebuchet MS" pitchFamily="34" charset="0"/>
              <a:ea typeface="+mj-ea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grpSp>
        <p:nvGrpSpPr>
          <p:cNvPr id="1026" name="Group 22"/>
          <p:cNvGrpSpPr>
            <a:grpSpLocks/>
          </p:cNvGrpSpPr>
          <p:nvPr/>
        </p:nvGrpSpPr>
        <p:grpSpPr bwMode="auto">
          <a:xfrm>
            <a:off x="0" y="6"/>
            <a:ext cx="12208933" cy="6869113"/>
            <a:chOff x="0" y="0"/>
            <a:chExt cx="5768" cy="4327"/>
          </a:xfrm>
        </p:grpSpPr>
        <p:sp>
          <p:nvSpPr>
            <p:cNvPr id="1035" name="Freeform 23"/>
            <p:cNvSpPr>
              <a:spLocks/>
            </p:cNvSpPr>
            <p:nvPr>
              <p:custDataLst>
                <p:tags r:id="rId24"/>
              </p:custDataLst>
            </p:nvPr>
          </p:nvSpPr>
          <p:spPr bwMode="auto">
            <a:xfrm>
              <a:off x="0" y="3353"/>
              <a:ext cx="5768" cy="974"/>
            </a:xfrm>
            <a:custGeom>
              <a:avLst/>
              <a:gdLst>
                <a:gd name="T0" fmla="*/ 5768 w 5768"/>
                <a:gd name="T1" fmla="*/ 972 h 974"/>
                <a:gd name="T2" fmla="*/ 3 w 5768"/>
                <a:gd name="T3" fmla="*/ 959 h 974"/>
                <a:gd name="T4" fmla="*/ 0 w 5768"/>
                <a:gd name="T5" fmla="*/ 504 h 974"/>
                <a:gd name="T6" fmla="*/ 0 w 5768"/>
                <a:gd name="T7" fmla="*/ 504 h 974"/>
                <a:gd name="T8" fmla="*/ 212 w 5768"/>
                <a:gd name="T9" fmla="*/ 516 h 974"/>
                <a:gd name="T10" fmla="*/ 424 w 5768"/>
                <a:gd name="T11" fmla="*/ 526 h 974"/>
                <a:gd name="T12" fmla="*/ 632 w 5768"/>
                <a:gd name="T13" fmla="*/ 534 h 974"/>
                <a:gd name="T14" fmla="*/ 840 w 5768"/>
                <a:gd name="T15" fmla="*/ 540 h 974"/>
                <a:gd name="T16" fmla="*/ 1048 w 5768"/>
                <a:gd name="T17" fmla="*/ 544 h 974"/>
                <a:gd name="T18" fmla="*/ 1252 w 5768"/>
                <a:gd name="T19" fmla="*/ 546 h 974"/>
                <a:gd name="T20" fmla="*/ 1456 w 5768"/>
                <a:gd name="T21" fmla="*/ 546 h 974"/>
                <a:gd name="T22" fmla="*/ 1656 w 5768"/>
                <a:gd name="T23" fmla="*/ 544 h 974"/>
                <a:gd name="T24" fmla="*/ 1856 w 5768"/>
                <a:gd name="T25" fmla="*/ 540 h 974"/>
                <a:gd name="T26" fmla="*/ 2054 w 5768"/>
                <a:gd name="T27" fmla="*/ 536 h 974"/>
                <a:gd name="T28" fmla="*/ 2250 w 5768"/>
                <a:gd name="T29" fmla="*/ 528 h 974"/>
                <a:gd name="T30" fmla="*/ 2444 w 5768"/>
                <a:gd name="T31" fmla="*/ 520 h 974"/>
                <a:gd name="T32" fmla="*/ 2634 w 5768"/>
                <a:gd name="T33" fmla="*/ 510 h 974"/>
                <a:gd name="T34" fmla="*/ 2824 w 5768"/>
                <a:gd name="T35" fmla="*/ 498 h 974"/>
                <a:gd name="T36" fmla="*/ 3010 w 5768"/>
                <a:gd name="T37" fmla="*/ 484 h 974"/>
                <a:gd name="T38" fmla="*/ 3196 w 5768"/>
                <a:gd name="T39" fmla="*/ 468 h 974"/>
                <a:gd name="T40" fmla="*/ 3378 w 5768"/>
                <a:gd name="T41" fmla="*/ 450 h 974"/>
                <a:gd name="T42" fmla="*/ 3556 w 5768"/>
                <a:gd name="T43" fmla="*/ 430 h 974"/>
                <a:gd name="T44" fmla="*/ 3734 w 5768"/>
                <a:gd name="T45" fmla="*/ 410 h 974"/>
                <a:gd name="T46" fmla="*/ 3908 w 5768"/>
                <a:gd name="T47" fmla="*/ 388 h 974"/>
                <a:gd name="T48" fmla="*/ 4078 w 5768"/>
                <a:gd name="T49" fmla="*/ 364 h 974"/>
                <a:gd name="T50" fmla="*/ 4248 w 5768"/>
                <a:gd name="T51" fmla="*/ 338 h 974"/>
                <a:gd name="T52" fmla="*/ 4414 w 5768"/>
                <a:gd name="T53" fmla="*/ 312 h 974"/>
                <a:gd name="T54" fmla="*/ 4576 w 5768"/>
                <a:gd name="T55" fmla="*/ 282 h 974"/>
                <a:gd name="T56" fmla="*/ 4736 w 5768"/>
                <a:gd name="T57" fmla="*/ 252 h 974"/>
                <a:gd name="T58" fmla="*/ 4892 w 5768"/>
                <a:gd name="T59" fmla="*/ 222 h 974"/>
                <a:gd name="T60" fmla="*/ 5044 w 5768"/>
                <a:gd name="T61" fmla="*/ 188 h 974"/>
                <a:gd name="T62" fmla="*/ 5194 w 5768"/>
                <a:gd name="T63" fmla="*/ 154 h 974"/>
                <a:gd name="T64" fmla="*/ 5342 w 5768"/>
                <a:gd name="T65" fmla="*/ 118 h 974"/>
                <a:gd name="T66" fmla="*/ 5484 w 5768"/>
                <a:gd name="T67" fmla="*/ 80 h 974"/>
                <a:gd name="T68" fmla="*/ 5624 w 5768"/>
                <a:gd name="T69" fmla="*/ 42 h 974"/>
                <a:gd name="T70" fmla="*/ 5760 w 5768"/>
                <a:gd name="T71" fmla="*/ 0 h 974"/>
                <a:gd name="T72" fmla="*/ 5765 w 5768"/>
                <a:gd name="T73" fmla="*/ 974 h 97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0" t="0" r="r" b="b"/>
              <a:pathLst>
                <a:path w="5768" h="974">
                  <a:moveTo>
                    <a:pt x="5768" y="972"/>
                  </a:moveTo>
                  <a:lnTo>
                    <a:pt x="3" y="959"/>
                  </a:lnTo>
                  <a:lnTo>
                    <a:pt x="0" y="504"/>
                  </a:lnTo>
                  <a:lnTo>
                    <a:pt x="212" y="516"/>
                  </a:lnTo>
                  <a:lnTo>
                    <a:pt x="424" y="526"/>
                  </a:lnTo>
                  <a:lnTo>
                    <a:pt x="632" y="534"/>
                  </a:lnTo>
                  <a:lnTo>
                    <a:pt x="840" y="540"/>
                  </a:lnTo>
                  <a:lnTo>
                    <a:pt x="1048" y="544"/>
                  </a:lnTo>
                  <a:lnTo>
                    <a:pt x="1252" y="546"/>
                  </a:lnTo>
                  <a:lnTo>
                    <a:pt x="1456" y="546"/>
                  </a:lnTo>
                  <a:lnTo>
                    <a:pt x="1656" y="544"/>
                  </a:lnTo>
                  <a:lnTo>
                    <a:pt x="1856" y="540"/>
                  </a:lnTo>
                  <a:lnTo>
                    <a:pt x="2054" y="536"/>
                  </a:lnTo>
                  <a:lnTo>
                    <a:pt x="2250" y="528"/>
                  </a:lnTo>
                  <a:lnTo>
                    <a:pt x="2444" y="520"/>
                  </a:lnTo>
                  <a:lnTo>
                    <a:pt x="2634" y="510"/>
                  </a:lnTo>
                  <a:lnTo>
                    <a:pt x="2824" y="498"/>
                  </a:lnTo>
                  <a:lnTo>
                    <a:pt x="3010" y="484"/>
                  </a:lnTo>
                  <a:lnTo>
                    <a:pt x="3196" y="468"/>
                  </a:lnTo>
                  <a:lnTo>
                    <a:pt x="3378" y="450"/>
                  </a:lnTo>
                  <a:lnTo>
                    <a:pt x="3556" y="430"/>
                  </a:lnTo>
                  <a:lnTo>
                    <a:pt x="3734" y="410"/>
                  </a:lnTo>
                  <a:lnTo>
                    <a:pt x="3908" y="388"/>
                  </a:lnTo>
                  <a:lnTo>
                    <a:pt x="4078" y="364"/>
                  </a:lnTo>
                  <a:lnTo>
                    <a:pt x="4248" y="338"/>
                  </a:lnTo>
                  <a:lnTo>
                    <a:pt x="4414" y="312"/>
                  </a:lnTo>
                  <a:lnTo>
                    <a:pt x="4576" y="282"/>
                  </a:lnTo>
                  <a:lnTo>
                    <a:pt x="4736" y="252"/>
                  </a:lnTo>
                  <a:lnTo>
                    <a:pt x="4892" y="222"/>
                  </a:lnTo>
                  <a:lnTo>
                    <a:pt x="5044" y="188"/>
                  </a:lnTo>
                  <a:lnTo>
                    <a:pt x="5194" y="154"/>
                  </a:lnTo>
                  <a:lnTo>
                    <a:pt x="5342" y="118"/>
                  </a:lnTo>
                  <a:lnTo>
                    <a:pt x="5484" y="80"/>
                  </a:lnTo>
                  <a:lnTo>
                    <a:pt x="5624" y="42"/>
                  </a:lnTo>
                  <a:lnTo>
                    <a:pt x="5760" y="0"/>
                  </a:lnTo>
                  <a:lnTo>
                    <a:pt x="5765" y="974"/>
                  </a:ln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  <p:sp>
          <p:nvSpPr>
            <p:cNvPr id="1036" name="Freeform 24"/>
            <p:cNvSpPr>
              <a:spLocks/>
            </p:cNvSpPr>
            <p:nvPr>
              <p:custDataLst>
                <p:tags r:id="rId25"/>
              </p:custDataLst>
            </p:nvPr>
          </p:nvSpPr>
          <p:spPr bwMode="auto">
            <a:xfrm>
              <a:off x="0" y="0"/>
              <a:ext cx="5762" cy="1224"/>
            </a:xfrm>
            <a:custGeom>
              <a:avLst/>
              <a:gdLst>
                <a:gd name="T0" fmla="*/ 5728 w 5762"/>
                <a:gd name="T1" fmla="*/ 1210 h 1224"/>
                <a:gd name="T2" fmla="*/ 5728 w 5762"/>
                <a:gd name="T3" fmla="*/ 1210 h 1224"/>
                <a:gd name="T4" fmla="*/ 5592 w 5762"/>
                <a:gd name="T5" fmla="*/ 1160 h 1224"/>
                <a:gd name="T6" fmla="*/ 5456 w 5762"/>
                <a:gd name="T7" fmla="*/ 1114 h 1224"/>
                <a:gd name="T8" fmla="*/ 5322 w 5762"/>
                <a:gd name="T9" fmla="*/ 1072 h 1224"/>
                <a:gd name="T10" fmla="*/ 5190 w 5762"/>
                <a:gd name="T11" fmla="*/ 1034 h 1224"/>
                <a:gd name="T12" fmla="*/ 5056 w 5762"/>
                <a:gd name="T13" fmla="*/ 998 h 1224"/>
                <a:gd name="T14" fmla="*/ 4924 w 5762"/>
                <a:gd name="T15" fmla="*/ 964 h 1224"/>
                <a:gd name="T16" fmla="*/ 4790 w 5762"/>
                <a:gd name="T17" fmla="*/ 934 h 1224"/>
                <a:gd name="T18" fmla="*/ 4654 w 5762"/>
                <a:gd name="T19" fmla="*/ 906 h 1224"/>
                <a:gd name="T20" fmla="*/ 4518 w 5762"/>
                <a:gd name="T21" fmla="*/ 880 h 1224"/>
                <a:gd name="T22" fmla="*/ 4378 w 5762"/>
                <a:gd name="T23" fmla="*/ 858 h 1224"/>
                <a:gd name="T24" fmla="*/ 4234 w 5762"/>
                <a:gd name="T25" fmla="*/ 836 h 1224"/>
                <a:gd name="T26" fmla="*/ 4086 w 5762"/>
                <a:gd name="T27" fmla="*/ 814 h 1224"/>
                <a:gd name="T28" fmla="*/ 3936 w 5762"/>
                <a:gd name="T29" fmla="*/ 796 h 1224"/>
                <a:gd name="T30" fmla="*/ 3778 w 5762"/>
                <a:gd name="T31" fmla="*/ 778 h 1224"/>
                <a:gd name="T32" fmla="*/ 3616 w 5762"/>
                <a:gd name="T33" fmla="*/ 760 h 1224"/>
                <a:gd name="T34" fmla="*/ 3448 w 5762"/>
                <a:gd name="T35" fmla="*/ 744 h 1224"/>
                <a:gd name="T36" fmla="*/ 3448 w 5762"/>
                <a:gd name="T37" fmla="*/ 744 h 1224"/>
                <a:gd name="T38" fmla="*/ 3158 w 5762"/>
                <a:gd name="T39" fmla="*/ 716 h 1224"/>
                <a:gd name="T40" fmla="*/ 2876 w 5762"/>
                <a:gd name="T41" fmla="*/ 694 h 1224"/>
                <a:gd name="T42" fmla="*/ 2606 w 5762"/>
                <a:gd name="T43" fmla="*/ 674 h 1224"/>
                <a:gd name="T44" fmla="*/ 2344 w 5762"/>
                <a:gd name="T45" fmla="*/ 658 h 1224"/>
                <a:gd name="T46" fmla="*/ 2092 w 5762"/>
                <a:gd name="T47" fmla="*/ 646 h 1224"/>
                <a:gd name="T48" fmla="*/ 1852 w 5762"/>
                <a:gd name="T49" fmla="*/ 636 h 1224"/>
                <a:gd name="T50" fmla="*/ 1620 w 5762"/>
                <a:gd name="T51" fmla="*/ 628 h 1224"/>
                <a:gd name="T52" fmla="*/ 1398 w 5762"/>
                <a:gd name="T53" fmla="*/ 624 h 1224"/>
                <a:gd name="T54" fmla="*/ 1188 w 5762"/>
                <a:gd name="T55" fmla="*/ 622 h 1224"/>
                <a:gd name="T56" fmla="*/ 986 w 5762"/>
                <a:gd name="T57" fmla="*/ 622 h 1224"/>
                <a:gd name="T58" fmla="*/ 796 w 5762"/>
                <a:gd name="T59" fmla="*/ 624 h 1224"/>
                <a:gd name="T60" fmla="*/ 616 w 5762"/>
                <a:gd name="T61" fmla="*/ 626 h 1224"/>
                <a:gd name="T62" fmla="*/ 448 w 5762"/>
                <a:gd name="T63" fmla="*/ 632 h 1224"/>
                <a:gd name="T64" fmla="*/ 288 w 5762"/>
                <a:gd name="T65" fmla="*/ 638 h 1224"/>
                <a:gd name="T66" fmla="*/ 140 w 5762"/>
                <a:gd name="T67" fmla="*/ 644 h 1224"/>
                <a:gd name="T68" fmla="*/ 2 w 5762"/>
                <a:gd name="T69" fmla="*/ 652 h 1224"/>
                <a:gd name="T70" fmla="*/ 0 w 5762"/>
                <a:gd name="T71" fmla="*/ 4 h 1224"/>
                <a:gd name="T72" fmla="*/ 5759 w 5762"/>
                <a:gd name="T73" fmla="*/ 0 h 1224"/>
                <a:gd name="T74" fmla="*/ 5762 w 5762"/>
                <a:gd name="T75" fmla="*/ 1224 h 1224"/>
                <a:gd name="T76" fmla="*/ 5762 w 5762"/>
                <a:gd name="T77" fmla="*/ 1224 h 1224"/>
                <a:gd name="T78" fmla="*/ 5756 w 5762"/>
                <a:gd name="T79" fmla="*/ 1220 h 1224"/>
                <a:gd name="T80" fmla="*/ 5756 w 5762"/>
                <a:gd name="T81" fmla="*/ 1220 h 1224"/>
                <a:gd name="T82" fmla="*/ 5728 w 5762"/>
                <a:gd name="T83" fmla="*/ 1210 h 1224"/>
                <a:gd name="T84" fmla="*/ 5728 w 5762"/>
                <a:gd name="T85" fmla="*/ 1210 h 122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0" t="0" r="r" b="b"/>
              <a:pathLst>
                <a:path w="5762" h="1224">
                  <a:moveTo>
                    <a:pt x="5728" y="1210"/>
                  </a:moveTo>
                  <a:lnTo>
                    <a:pt x="5728" y="1210"/>
                  </a:lnTo>
                  <a:lnTo>
                    <a:pt x="5592" y="1160"/>
                  </a:lnTo>
                  <a:lnTo>
                    <a:pt x="5456" y="1114"/>
                  </a:lnTo>
                  <a:lnTo>
                    <a:pt x="5322" y="1072"/>
                  </a:lnTo>
                  <a:lnTo>
                    <a:pt x="5190" y="1034"/>
                  </a:lnTo>
                  <a:lnTo>
                    <a:pt x="5056" y="998"/>
                  </a:lnTo>
                  <a:lnTo>
                    <a:pt x="4924" y="964"/>
                  </a:lnTo>
                  <a:lnTo>
                    <a:pt x="4790" y="934"/>
                  </a:lnTo>
                  <a:lnTo>
                    <a:pt x="4654" y="906"/>
                  </a:lnTo>
                  <a:lnTo>
                    <a:pt x="4518" y="880"/>
                  </a:lnTo>
                  <a:lnTo>
                    <a:pt x="4378" y="858"/>
                  </a:lnTo>
                  <a:lnTo>
                    <a:pt x="4234" y="836"/>
                  </a:lnTo>
                  <a:lnTo>
                    <a:pt x="4086" y="814"/>
                  </a:lnTo>
                  <a:lnTo>
                    <a:pt x="3936" y="796"/>
                  </a:lnTo>
                  <a:lnTo>
                    <a:pt x="3778" y="778"/>
                  </a:lnTo>
                  <a:lnTo>
                    <a:pt x="3616" y="760"/>
                  </a:lnTo>
                  <a:lnTo>
                    <a:pt x="3448" y="744"/>
                  </a:lnTo>
                  <a:lnTo>
                    <a:pt x="3158" y="716"/>
                  </a:lnTo>
                  <a:lnTo>
                    <a:pt x="2876" y="694"/>
                  </a:lnTo>
                  <a:lnTo>
                    <a:pt x="2606" y="674"/>
                  </a:lnTo>
                  <a:lnTo>
                    <a:pt x="2344" y="658"/>
                  </a:lnTo>
                  <a:lnTo>
                    <a:pt x="2092" y="646"/>
                  </a:lnTo>
                  <a:lnTo>
                    <a:pt x="1852" y="636"/>
                  </a:lnTo>
                  <a:lnTo>
                    <a:pt x="1620" y="628"/>
                  </a:lnTo>
                  <a:lnTo>
                    <a:pt x="1398" y="624"/>
                  </a:lnTo>
                  <a:lnTo>
                    <a:pt x="1188" y="622"/>
                  </a:lnTo>
                  <a:lnTo>
                    <a:pt x="986" y="622"/>
                  </a:lnTo>
                  <a:lnTo>
                    <a:pt x="796" y="624"/>
                  </a:lnTo>
                  <a:lnTo>
                    <a:pt x="616" y="626"/>
                  </a:lnTo>
                  <a:lnTo>
                    <a:pt x="448" y="632"/>
                  </a:lnTo>
                  <a:lnTo>
                    <a:pt x="288" y="638"/>
                  </a:lnTo>
                  <a:lnTo>
                    <a:pt x="140" y="644"/>
                  </a:lnTo>
                  <a:lnTo>
                    <a:pt x="2" y="652"/>
                  </a:lnTo>
                  <a:lnTo>
                    <a:pt x="0" y="4"/>
                  </a:lnTo>
                  <a:lnTo>
                    <a:pt x="5759" y="0"/>
                  </a:lnTo>
                  <a:lnTo>
                    <a:pt x="5762" y="1224"/>
                  </a:lnTo>
                  <a:lnTo>
                    <a:pt x="5756" y="1220"/>
                  </a:lnTo>
                  <a:lnTo>
                    <a:pt x="5728" y="121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US" sz="1800">
                <a:solidFill>
                  <a:srgbClr val="000000"/>
                </a:solidFill>
              </a:endParaRPr>
            </a:p>
          </p:txBody>
        </p:sp>
      </p:grpSp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956736" y="784225"/>
            <a:ext cx="8629650" cy="463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82162" y="1773280"/>
            <a:ext cx="8606367" cy="13731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33798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612900" y="6543675"/>
            <a:ext cx="12700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defRPr sz="1000">
                <a:solidFill>
                  <a:schemeClr val="bg2"/>
                </a:solidFill>
              </a:defRPr>
            </a:lvl1pPr>
          </a:lstStyle>
          <a:p>
            <a:fld id="{2A5614AE-C141-44BD-A832-7B26EE1A60B2}" type="slidenum">
              <a:rPr lang="en-US" altLang="en-US" smtClean="0">
                <a:solidFill>
                  <a:srgbClr val="5F5F5F"/>
                </a:solidFill>
              </a:rPr>
              <a:pPr/>
              <a:t>‹#›</a:t>
            </a:fld>
            <a:endParaRPr lang="en-US" altLang="en-US">
              <a:solidFill>
                <a:srgbClr val="5F5F5F"/>
              </a:solidFill>
            </a:endParaRPr>
          </a:p>
        </p:txBody>
      </p:sp>
      <p:pic>
        <p:nvPicPr>
          <p:cNvPr id="1031" name="Picture 15" descr="DSM_cover_logo_contentpage_300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58304" y="6053138"/>
            <a:ext cx="2650066" cy="633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Box 25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982164" y="279442"/>
            <a:ext cx="184731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endParaRPr lang="en-US" altLang="en-US" sz="1000">
              <a:solidFill>
                <a:srgbClr val="5F5F5F"/>
              </a:solidFill>
            </a:endParaRPr>
          </a:p>
        </p:txBody>
      </p:sp>
      <p:sp>
        <p:nvSpPr>
          <p:cNvPr id="1033" name="Text Box 26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982133" y="6499267"/>
            <a:ext cx="7979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rebuchet MS" pitchFamily="34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1000">
                <a:solidFill>
                  <a:srgbClr val="5F5F5F"/>
                </a:solidFill>
              </a:rPr>
              <a:t>Page</a:t>
            </a:r>
          </a:p>
        </p:txBody>
      </p:sp>
      <p:sp>
        <p:nvSpPr>
          <p:cNvPr id="3" name="TextBox 2"/>
          <p:cNvSpPr txBox="1"/>
          <p:nvPr userDrawn="1">
            <p:custDataLst>
              <p:tags r:id="rId23"/>
            </p:custDataLst>
          </p:nvPr>
        </p:nvSpPr>
        <p:spPr>
          <a:xfrm>
            <a:off x="29" y="0"/>
            <a:ext cx="184731" cy="369332"/>
          </a:xfrm>
          <a:prstGeom prst="rect">
            <a:avLst/>
          </a:prstGeom>
          <a:noFill/>
        </p:spPr>
        <p:txBody>
          <a:bodyPr vert="horz" wrap="none" rtlCol="0">
            <a:spAutoFit/>
          </a:bodyPr>
          <a:lstStyle/>
          <a:p>
            <a:endParaRPr lang="en-US" sz="1800">
              <a:solidFill>
                <a:srgbClr val="000000"/>
              </a:solidFill>
            </a:endParaRPr>
          </a:p>
        </p:txBody>
      </p:sp>
      <p:sp>
        <p:nvSpPr>
          <p:cNvPr id="4" name="hl"/>
          <p:cNvSpPr txBox="1"/>
          <p:nvPr userDrawn="1"/>
        </p:nvSpPr>
        <p:spPr>
          <a:xfrm>
            <a:off x="0" y="0"/>
            <a:ext cx="12192000" cy="223138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pPr algn="l"/>
            <a:endParaRPr lang="en-US" sz="850" b="0" i="0" u="none" baseline="0">
              <a:solidFill>
                <a:srgbClr val="5F5F5F"/>
              </a:solidFill>
              <a:latin typeface="trebuchet ms"/>
            </a:endParaRPr>
          </a:p>
        </p:txBody>
      </p:sp>
      <p:sp>
        <p:nvSpPr>
          <p:cNvPr id="2" name="MSIPCMContentMarking" descr="{&quot;HashCode&quot;:1396414009,&quot;Placement&quot;:&quot;Header&quot;,&quot;Top&quot;:0.0,&quot;Left&quot;:850.833862,&quot;SlideWidth&quot;:960,&quot;SlideHeight&quot;:540}">
            <a:extLst>
              <a:ext uri="{FF2B5EF4-FFF2-40B4-BE49-F238E27FC236}">
                <a16:creationId xmlns:a16="http://schemas.microsoft.com/office/drawing/2014/main" id="{2532615E-89BA-4323-8361-3D956DD290FE}"/>
              </a:ext>
            </a:extLst>
          </p:cNvPr>
          <p:cNvSpPr txBox="1"/>
          <p:nvPr userDrawn="1"/>
        </p:nvSpPr>
        <p:spPr>
          <a:xfrm>
            <a:off x="10805590" y="0"/>
            <a:ext cx="138641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737373"/>
                </a:solidFill>
                <a:latin typeface="Calibri" panose="020F0502020204030204" pitchFamily="34" charset="0"/>
              </a:rPr>
              <a:t>For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4640091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5" r:id="rId12"/>
    <p:sldLayoutId id="2147483690" r:id="rId13"/>
    <p:sldLayoutId id="2147483695" r:id="rId14"/>
    <p:sldLayoutId id="2147483696" r:id="rId15"/>
    <p:sldLayoutId id="2147483701" r:id="rId16"/>
  </p:sldLayoutIdLst>
  <p:hf hdr="0" ftr="0" dt="0"/>
  <p:txStyles>
    <p:titleStyle>
      <a:lvl1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rtl="0" eaLnBrk="0" fontAlgn="base" hangingPunct="0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rtl="0" fontAlgn="base">
        <a:lnSpc>
          <a:spcPct val="95000"/>
        </a:lnSpc>
        <a:spcBef>
          <a:spcPct val="0"/>
        </a:spcBef>
        <a:spcAft>
          <a:spcPct val="0"/>
        </a:spcAft>
        <a:defRPr sz="32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2pPr>
      <a:lvl3pPr marL="1143000" indent="-228600" algn="l" rtl="0" eaLnBrk="0" fontAlgn="base" hangingPunct="0">
        <a:spcBef>
          <a:spcPct val="0"/>
        </a:spcBef>
        <a:spcAft>
          <a:spcPct val="0"/>
        </a:spcAft>
        <a:buChar char="•"/>
        <a:defRPr>
          <a:solidFill>
            <a:schemeClr val="tx1"/>
          </a:solidFill>
          <a:latin typeface="+mn-lt"/>
          <a:cs typeface="+mn-cs"/>
        </a:defRPr>
      </a:lvl3pPr>
      <a:lvl4pPr marL="1600200" indent="-228600" algn="l" rtl="0" eaLnBrk="0" fontAlgn="base" hangingPunct="0">
        <a:spcBef>
          <a:spcPct val="0"/>
        </a:spcBef>
        <a:spcAft>
          <a:spcPct val="0"/>
        </a:spcAft>
        <a:buChar char="–"/>
        <a:defRPr>
          <a:solidFill>
            <a:schemeClr val="tx1"/>
          </a:solidFill>
          <a:latin typeface="+mn-lt"/>
          <a:cs typeface="+mn-cs"/>
        </a:defRPr>
      </a:lvl4pPr>
      <a:lvl5pPr marL="2057400" indent="-228600" algn="l" rtl="0" eaLnBrk="0" fontAlgn="base" hangingPunct="0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5pPr>
      <a:lvl6pPr marL="25146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0"/>
        </a:spcBef>
        <a:spcAft>
          <a:spcPct val="0"/>
        </a:spcAft>
        <a:buChar char="»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916091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75" name="think-cell Slide" r:id="rId19" imgW="345" imgH="355" progId="TCLayout.ActiveDocument.1">
                  <p:embed/>
                </p:oleObj>
              </mc:Choice>
              <mc:Fallback>
                <p:oleObj name="think-cell Slide" r:id="rId19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Click to 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  <a:endParaRPr lang="en-US" altLang="nl-NL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MSIPCMContentMarking" descr="{&quot;HashCode&quot;:1396414009,&quot;Placement&quot;:&quot;Header&quot;,&quot;Top&quot;:0.0,&quot;Left&quot;:850.833862,&quot;SlideWidth&quot;:960,&quot;SlideHeight&quot;:540}">
            <a:extLst>
              <a:ext uri="{FF2B5EF4-FFF2-40B4-BE49-F238E27FC236}">
                <a16:creationId xmlns:a16="http://schemas.microsoft.com/office/drawing/2014/main" id="{2EB1A62E-B505-4680-8D89-653416A7BDB7}"/>
              </a:ext>
            </a:extLst>
          </p:cNvPr>
          <p:cNvSpPr txBox="1"/>
          <p:nvPr userDrawn="1"/>
        </p:nvSpPr>
        <p:spPr>
          <a:xfrm>
            <a:off x="10805590" y="0"/>
            <a:ext cx="138641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737373"/>
                </a:solidFill>
                <a:latin typeface="Calibri" panose="020F0502020204030204" pitchFamily="34" charset="0"/>
              </a:rPr>
              <a:t>For Internal Use Only</a:t>
            </a:r>
            <a:endParaRPr lang="en-US" sz="1000" dirty="0" err="1">
              <a:solidFill>
                <a:srgbClr val="737373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74319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916091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8" name="think-cell Slide" r:id="rId26" imgW="345" imgH="355" progId="TCLayout.ActiveDocument.1">
                  <p:embed/>
                </p:oleObj>
              </mc:Choice>
              <mc:Fallback>
                <p:oleObj name="think-cell Slide" r:id="rId26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 dirty="0"/>
              <a:t>Click to edit Master text styles</a:t>
            </a:r>
          </a:p>
          <a:p>
            <a:pPr lvl="1"/>
            <a:r>
              <a:rPr lang="en-US" altLang="nl-NL" noProof="0" dirty="0"/>
              <a:t>Second level</a:t>
            </a:r>
          </a:p>
          <a:p>
            <a:pPr lvl="2"/>
            <a:r>
              <a:rPr lang="en-US" altLang="nl-NL" noProof="0" dirty="0"/>
              <a:t>Third level</a:t>
            </a:r>
          </a:p>
          <a:p>
            <a:pPr lvl="3"/>
            <a:r>
              <a:rPr lang="en-US" altLang="nl-NL" noProof="0" dirty="0"/>
              <a:t>Fourth level</a:t>
            </a:r>
          </a:p>
          <a:p>
            <a:pPr lvl="4"/>
            <a:r>
              <a:rPr lang="en-US" altLang="nl-NL" noProof="0" dirty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MSIPCMContentMarking" descr="{&quot;HashCode&quot;:1396414009,&quot;Placement&quot;:&quot;Header&quot;,&quot;Top&quot;:0.0,&quot;Left&quot;:850.833862,&quot;SlideWidth&quot;:960,&quot;SlideHeight&quot;:540}">
            <a:extLst>
              <a:ext uri="{FF2B5EF4-FFF2-40B4-BE49-F238E27FC236}">
                <a16:creationId xmlns:a16="http://schemas.microsoft.com/office/drawing/2014/main" id="{4FEE73D9-C580-441E-8056-855597587028}"/>
              </a:ext>
            </a:extLst>
          </p:cNvPr>
          <p:cNvSpPr txBox="1"/>
          <p:nvPr userDrawn="1"/>
        </p:nvSpPr>
        <p:spPr>
          <a:xfrm>
            <a:off x="10805590" y="0"/>
            <a:ext cx="138641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737373"/>
                </a:solidFill>
                <a:latin typeface="Calibri" panose="020F0502020204030204" pitchFamily="34" charset="0"/>
              </a:rPr>
              <a:t>For Internal Use Only</a:t>
            </a:r>
            <a:endParaRPr lang="en-AT" sz="1000" dirty="0" err="1">
              <a:solidFill>
                <a:srgbClr val="737373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49284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  <p:sldLayoutId id="2147483748" r:id="rId17"/>
    <p:sldLayoutId id="2147483749" r:id="rId18"/>
    <p:sldLayoutId id="2147483751" r:id="rId19"/>
    <p:sldLayoutId id="2147483752" r:id="rId20"/>
    <p:sldLayoutId id="2147483753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8246735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11" name="think-cell Slide" r:id="rId19" imgW="345" imgH="355" progId="TCLayout.ActiveDocument.1">
                  <p:embed/>
                </p:oleObj>
              </mc:Choice>
              <mc:Fallback>
                <p:oleObj name="think-cell Slide" r:id="rId19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 dirty="0">
              <a:latin typeface="Fira Sans" panose="020B060402020202020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Click to 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  <a:endParaRPr lang="en-US" altLang="nl-NL" noProof="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03"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dirty="0"/>
          </a:p>
        </p:txBody>
      </p:sp>
      <p:sp>
        <p:nvSpPr>
          <p:cNvPr id="6" name="MSIPCMContentMarking" descr="{&quot;HashCode&quot;:1396414009,&quot;Placement&quot;:&quot;Header&quot;,&quot;Top&quot;:0.0,&quot;Left&quot;:850.833862,&quot;SlideWidth&quot;:960,&quot;SlideHeight&quot;:540}">
            <a:extLst>
              <a:ext uri="{FF2B5EF4-FFF2-40B4-BE49-F238E27FC236}">
                <a16:creationId xmlns:a16="http://schemas.microsoft.com/office/drawing/2014/main" id="{BEDE59F8-0E57-4E17-AC95-3CB4DFEA9CB4}"/>
              </a:ext>
            </a:extLst>
          </p:cNvPr>
          <p:cNvSpPr txBox="1"/>
          <p:nvPr userDrawn="1"/>
        </p:nvSpPr>
        <p:spPr>
          <a:xfrm>
            <a:off x="10805590" y="0"/>
            <a:ext cx="138641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737373"/>
                </a:solidFill>
                <a:latin typeface="Calibri" panose="020F0502020204030204" pitchFamily="34" charset="0"/>
              </a:rPr>
              <a:t>For Internal Use Only</a:t>
            </a:r>
            <a:endParaRPr lang="en-US" sz="1000" dirty="0" err="1">
              <a:solidFill>
                <a:srgbClr val="737373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496212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45AC34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88CD9A5-CB16-40D2-9F4F-49B86AB335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57" name="think-cell Slide" r:id="rId19" imgW="345" imgH="355" progId="TCLayout.ActiveDocument.1">
                  <p:embed/>
                </p:oleObj>
              </mc:Choice>
              <mc:Fallback>
                <p:oleObj name="think-cell Slide" r:id="rId19" imgW="345" imgH="35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88CD9A5-CB16-40D2-9F4F-49B86AB335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A1B86D4-C732-4BB2-B670-C23496EC2219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1" i="0" baseline="0">
              <a:latin typeface="Trebuchet MS" panose="020B0603020202020204" pitchFamily="34" charset="0"/>
              <a:ea typeface="+mj-ea"/>
              <a:cs typeface="+mj-cs"/>
              <a:sym typeface="Trebuchet MS" panose="020B060302020202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D485BAD-1C8B-4441-B783-106FAC225F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68000"/>
            <a:ext cx="11262666" cy="4431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Head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34663B-7E49-9440-B293-C2E9E4CCE56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67999" y="1800000"/>
            <a:ext cx="11262666" cy="320857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altLang="nl-NL" noProof="0"/>
              <a:t>Click to edit Master text styles</a:t>
            </a:r>
          </a:p>
          <a:p>
            <a:pPr lvl="1"/>
            <a:r>
              <a:rPr lang="en-US" altLang="nl-NL" noProof="0"/>
              <a:t>Second level</a:t>
            </a:r>
          </a:p>
          <a:p>
            <a:pPr lvl="2"/>
            <a:r>
              <a:rPr lang="en-US" altLang="nl-NL" noProof="0"/>
              <a:t>Third level</a:t>
            </a:r>
          </a:p>
          <a:p>
            <a:pPr lvl="3"/>
            <a:r>
              <a:rPr lang="en-US" altLang="nl-NL" noProof="0"/>
              <a:t>Fourth level</a:t>
            </a:r>
          </a:p>
          <a:p>
            <a:pPr lvl="4"/>
            <a:r>
              <a:rPr lang="en-US" altLang="nl-NL" noProof="0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EB26F52-2134-444C-B625-AC29ADC8DE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92673" y="5940447"/>
            <a:ext cx="3499327" cy="917553"/>
          </a:xfrm>
          <a:prstGeom prst="rect">
            <a:avLst/>
          </a:prstGeom>
        </p:spPr>
      </p:pic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D4C1C55B-7FBE-4698-9CB6-B4D9EFF5E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000" y="6339600"/>
            <a:ext cx="451163" cy="18466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>
              <a:defRPr sz="1200" b="0" i="0">
                <a:solidFill>
                  <a:srgbClr val="B2B2B2"/>
                </a:solidFill>
                <a:latin typeface="+mn-lt"/>
              </a:defRPr>
            </a:lvl1pPr>
          </a:lstStyle>
          <a:p>
            <a:fld id="{EC50C849-B97A-2B45-B78A-6D9C352F693C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4A352FF-86BC-4E1A-AA9A-CE84C72022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66799" y="6339600"/>
            <a:ext cx="6429375" cy="184666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120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endParaRPr lang="en-US" noProof="0"/>
          </a:p>
        </p:txBody>
      </p:sp>
      <p:sp>
        <p:nvSpPr>
          <p:cNvPr id="7" name="MSIPCMContentMarking" descr="{&quot;HashCode&quot;:1396414009,&quot;Placement&quot;:&quot;Header&quot;,&quot;Top&quot;:0.0,&quot;Left&quot;:850.833862,&quot;SlideWidth&quot;:960,&quot;SlideHeight&quot;:540}">
            <a:extLst>
              <a:ext uri="{FF2B5EF4-FFF2-40B4-BE49-F238E27FC236}">
                <a16:creationId xmlns:a16="http://schemas.microsoft.com/office/drawing/2014/main" id="{7A7E0034-D198-46E9-9440-C2E6DFC553B9}"/>
              </a:ext>
            </a:extLst>
          </p:cNvPr>
          <p:cNvSpPr txBox="1"/>
          <p:nvPr userDrawn="1"/>
        </p:nvSpPr>
        <p:spPr>
          <a:xfrm>
            <a:off x="10805590" y="0"/>
            <a:ext cx="138641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737373"/>
                </a:solidFill>
                <a:latin typeface="Calibri" panose="020F0502020204030204" pitchFamily="34" charset="0"/>
              </a:rPr>
              <a:t>For Internal Use Only</a:t>
            </a:r>
            <a:endParaRPr lang="en-US" sz="1000" dirty="0" err="1">
              <a:solidFill>
                <a:srgbClr val="737373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69262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  <p:sldLayoutId id="2147483786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rgbClr val="0070BA"/>
          </a:solidFill>
          <a:latin typeface="+mj-lt"/>
          <a:ea typeface="+mj-ea"/>
          <a:cs typeface="+mj-cs"/>
        </a:defRPr>
      </a:lvl1pPr>
    </p:titleStyle>
    <p:bodyStyle>
      <a:lvl1pPr marL="252000" indent="-2520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538163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–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090612" indent="-2857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1076325" indent="-2714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f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g"/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56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svg"/><Relationship Id="rId3" Type="http://schemas.openxmlformats.org/officeDocument/2006/relationships/image" Target="../media/image57.png"/><Relationship Id="rId7" Type="http://schemas.openxmlformats.org/officeDocument/2006/relationships/image" Target="../media/image61.png"/><Relationship Id="rId2" Type="http://schemas.openxmlformats.org/officeDocument/2006/relationships/slideLayout" Target="../slideLayouts/slideLayout36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60.svg"/><Relationship Id="rId5" Type="http://schemas.openxmlformats.org/officeDocument/2006/relationships/image" Target="../media/image59.png"/><Relationship Id="rId4" Type="http://schemas.openxmlformats.org/officeDocument/2006/relationships/image" Target="../media/image58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image" Target="../media/image74.svg"/><Relationship Id="rId3" Type="http://schemas.openxmlformats.org/officeDocument/2006/relationships/image" Target="../media/image64.svg"/><Relationship Id="rId7" Type="http://schemas.openxmlformats.org/officeDocument/2006/relationships/image" Target="../media/image68.svg"/><Relationship Id="rId12" Type="http://schemas.openxmlformats.org/officeDocument/2006/relationships/image" Target="../media/image73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7.png"/><Relationship Id="rId11" Type="http://schemas.openxmlformats.org/officeDocument/2006/relationships/image" Target="../media/image72.svg"/><Relationship Id="rId5" Type="http://schemas.openxmlformats.org/officeDocument/2006/relationships/image" Target="../media/image66.svg"/><Relationship Id="rId10" Type="http://schemas.openxmlformats.org/officeDocument/2006/relationships/image" Target="../media/image71.png"/><Relationship Id="rId4" Type="http://schemas.openxmlformats.org/officeDocument/2006/relationships/image" Target="../media/image65.png"/><Relationship Id="rId9" Type="http://schemas.openxmlformats.org/officeDocument/2006/relationships/image" Target="../media/image70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sv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4.svg"/><Relationship Id="rId4" Type="http://schemas.openxmlformats.org/officeDocument/2006/relationships/image" Target="../media/image73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48.xml"/><Relationship Id="rId1" Type="http://schemas.openxmlformats.org/officeDocument/2006/relationships/themeOverride" Target="../theme/themeOverride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8.xml"/><Relationship Id="rId4" Type="http://schemas.openxmlformats.org/officeDocument/2006/relationships/chart" Target="../charts/char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78.sv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3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.xml"/><Relationship Id="rId7" Type="http://schemas.openxmlformats.org/officeDocument/2006/relationships/image" Target="../media/image80.emf"/><Relationship Id="rId2" Type="http://schemas.openxmlformats.org/officeDocument/2006/relationships/tags" Target="../tags/tag178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80.bin"/><Relationship Id="rId5" Type="http://schemas.microsoft.com/office/2007/relationships/hdphoto" Target="../media/hdphoto1.wdp"/><Relationship Id="rId4" Type="http://schemas.openxmlformats.org/officeDocument/2006/relationships/image" Target="../media/image81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image" Target="../media/image74.svg"/><Relationship Id="rId3" Type="http://schemas.openxmlformats.org/officeDocument/2006/relationships/image" Target="../media/image64.svg"/><Relationship Id="rId7" Type="http://schemas.openxmlformats.org/officeDocument/2006/relationships/image" Target="../media/image68.svg"/><Relationship Id="rId12" Type="http://schemas.openxmlformats.org/officeDocument/2006/relationships/image" Target="../media/image73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7.png"/><Relationship Id="rId11" Type="http://schemas.openxmlformats.org/officeDocument/2006/relationships/image" Target="../media/image72.svg"/><Relationship Id="rId5" Type="http://schemas.openxmlformats.org/officeDocument/2006/relationships/image" Target="../media/image66.svg"/><Relationship Id="rId10" Type="http://schemas.openxmlformats.org/officeDocument/2006/relationships/image" Target="../media/image71.png"/><Relationship Id="rId4" Type="http://schemas.openxmlformats.org/officeDocument/2006/relationships/image" Target="../media/image65.png"/><Relationship Id="rId9" Type="http://schemas.openxmlformats.org/officeDocument/2006/relationships/image" Target="../media/image70.sv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72.svg"/><Relationship Id="rId4" Type="http://schemas.openxmlformats.org/officeDocument/2006/relationships/image" Target="../media/image71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2" Type="http://schemas.openxmlformats.org/officeDocument/2006/relationships/image" Target="../media/image82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0.png"/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3.jpeg"/><Relationship Id="rId5" Type="http://schemas.openxmlformats.org/officeDocument/2006/relationships/image" Target="../media/image92.jpeg"/><Relationship Id="rId4" Type="http://schemas.openxmlformats.org/officeDocument/2006/relationships/image" Target="../media/image91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2" Type="http://schemas.openxmlformats.org/officeDocument/2006/relationships/image" Target="../media/image82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94.png"/><Relationship Id="rId1" Type="http://schemas.openxmlformats.org/officeDocument/2006/relationships/slideLayout" Target="../slideLayouts/slideLayout8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8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g"/><Relationship Id="rId7" Type="http://schemas.openxmlformats.org/officeDocument/2006/relationships/image" Target="../media/image102.png"/><Relationship Id="rId2" Type="http://schemas.openxmlformats.org/officeDocument/2006/relationships/image" Target="../media/image97.jpg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101.png"/><Relationship Id="rId5" Type="http://schemas.openxmlformats.org/officeDocument/2006/relationships/image" Target="../media/image100.png"/><Relationship Id="rId4" Type="http://schemas.openxmlformats.org/officeDocument/2006/relationships/image" Target="../media/image99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G"/><Relationship Id="rId13" Type="http://schemas.openxmlformats.org/officeDocument/2006/relationships/image" Target="../media/image22.emf"/><Relationship Id="rId18" Type="http://schemas.openxmlformats.org/officeDocument/2006/relationships/image" Target="../media/image33.jpeg"/><Relationship Id="rId3" Type="http://schemas.openxmlformats.org/officeDocument/2006/relationships/tags" Target="../tags/tag177.xml"/><Relationship Id="rId7" Type="http://schemas.openxmlformats.org/officeDocument/2006/relationships/image" Target="../media/image24.png"/><Relationship Id="rId12" Type="http://schemas.openxmlformats.org/officeDocument/2006/relationships/oleObject" Target="../embeddings/oleObject79.bin"/><Relationship Id="rId17" Type="http://schemas.openxmlformats.org/officeDocument/2006/relationships/image" Target="../media/image32.jpg"/><Relationship Id="rId2" Type="http://schemas.openxmlformats.org/officeDocument/2006/relationships/tags" Target="../tags/tag176.xml"/><Relationship Id="rId16" Type="http://schemas.openxmlformats.org/officeDocument/2006/relationships/image" Target="../media/image31.jpg"/><Relationship Id="rId20" Type="http://schemas.openxmlformats.org/officeDocument/2006/relationships/image" Target="../media/image35.png"/><Relationship Id="rId1" Type="http://schemas.openxmlformats.org/officeDocument/2006/relationships/vmlDrawing" Target="../drawings/vmlDrawing80.vml"/><Relationship Id="rId6" Type="http://schemas.openxmlformats.org/officeDocument/2006/relationships/image" Target="../media/image23.tiff"/><Relationship Id="rId11" Type="http://schemas.openxmlformats.org/officeDocument/2006/relationships/image" Target="../media/image28.jpe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30.png"/><Relationship Id="rId10" Type="http://schemas.openxmlformats.org/officeDocument/2006/relationships/image" Target="../media/image27.JPG"/><Relationship Id="rId19" Type="http://schemas.openxmlformats.org/officeDocument/2006/relationships/image" Target="../media/image34.jpe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26.jpeg"/><Relationship Id="rId14" Type="http://schemas.openxmlformats.org/officeDocument/2006/relationships/image" Target="../media/image29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2" Type="http://schemas.openxmlformats.org/officeDocument/2006/relationships/image" Target="../media/image82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png"/><Relationship Id="rId11" Type="http://schemas.openxmlformats.org/officeDocument/2006/relationships/image" Target="../media/image105.png"/><Relationship Id="rId5" Type="http://schemas.openxmlformats.org/officeDocument/2006/relationships/image" Target="../media/image85.png"/><Relationship Id="rId10" Type="http://schemas.openxmlformats.org/officeDocument/2006/relationships/image" Target="../media/image104.png"/><Relationship Id="rId4" Type="http://schemas.openxmlformats.org/officeDocument/2006/relationships/image" Target="../media/image84.png"/><Relationship Id="rId9" Type="http://schemas.openxmlformats.org/officeDocument/2006/relationships/image" Target="../media/image103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image" Target="../media/image83.png"/><Relationship Id="rId7" Type="http://schemas.openxmlformats.org/officeDocument/2006/relationships/image" Target="../media/image87.png"/><Relationship Id="rId2" Type="http://schemas.openxmlformats.org/officeDocument/2006/relationships/image" Target="../media/image82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Relationship Id="rId9" Type="http://schemas.openxmlformats.org/officeDocument/2006/relationships/image" Target="../media/image106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13" Type="http://schemas.openxmlformats.org/officeDocument/2006/relationships/image" Target="../media/image74.svg"/><Relationship Id="rId3" Type="http://schemas.openxmlformats.org/officeDocument/2006/relationships/image" Target="../media/image64.svg"/><Relationship Id="rId7" Type="http://schemas.openxmlformats.org/officeDocument/2006/relationships/image" Target="../media/image68.svg"/><Relationship Id="rId12" Type="http://schemas.openxmlformats.org/officeDocument/2006/relationships/image" Target="../media/image73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67.png"/><Relationship Id="rId11" Type="http://schemas.openxmlformats.org/officeDocument/2006/relationships/image" Target="../media/image72.svg"/><Relationship Id="rId5" Type="http://schemas.openxmlformats.org/officeDocument/2006/relationships/image" Target="../media/image66.svg"/><Relationship Id="rId10" Type="http://schemas.openxmlformats.org/officeDocument/2006/relationships/image" Target="../media/image71.png"/><Relationship Id="rId4" Type="http://schemas.openxmlformats.org/officeDocument/2006/relationships/image" Target="../media/image65.png"/><Relationship Id="rId9" Type="http://schemas.openxmlformats.org/officeDocument/2006/relationships/image" Target="../media/image70.sv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svg"/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71.xml"/><Relationship Id="rId5" Type="http://schemas.openxmlformats.org/officeDocument/2006/relationships/image" Target="../media/image70.svg"/><Relationship Id="rId4" Type="http://schemas.openxmlformats.org/officeDocument/2006/relationships/image" Target="../media/image69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jpe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8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emf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84.xml"/><Relationship Id="rId4" Type="http://schemas.openxmlformats.org/officeDocument/2006/relationships/image" Target="../media/image110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84.xml"/><Relationship Id="rId4" Type="http://schemas.openxmlformats.org/officeDocument/2006/relationships/image" Target="../media/image111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emf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8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JPG"/><Relationship Id="rId2" Type="http://schemas.openxmlformats.org/officeDocument/2006/relationships/image" Target="../media/image107.png"/><Relationship Id="rId1" Type="http://schemas.openxmlformats.org/officeDocument/2006/relationships/slideLayout" Target="../slideLayouts/slideLayout8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jpeg"/><Relationship Id="rId7" Type="http://schemas.openxmlformats.org/officeDocument/2006/relationships/image" Target="../media/image118.JPG"/><Relationship Id="rId2" Type="http://schemas.openxmlformats.org/officeDocument/2006/relationships/slideLayout" Target="../slideLayouts/slideLayout48.xml"/><Relationship Id="rId1" Type="http://schemas.openxmlformats.org/officeDocument/2006/relationships/themeOverride" Target="../theme/themeOverride3.xml"/><Relationship Id="rId6" Type="http://schemas.openxmlformats.org/officeDocument/2006/relationships/image" Target="../media/image117.jpg"/><Relationship Id="rId5" Type="http://schemas.openxmlformats.org/officeDocument/2006/relationships/image" Target="../media/image116.JPG"/><Relationship Id="rId4" Type="http://schemas.openxmlformats.org/officeDocument/2006/relationships/image" Target="../media/image115.jp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jpg"/><Relationship Id="rId1" Type="http://schemas.openxmlformats.org/officeDocument/2006/relationships/slideLayout" Target="../slideLayouts/slideLayout43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jpg"/><Relationship Id="rId2" Type="http://schemas.openxmlformats.org/officeDocument/2006/relationships/slideLayout" Target="../slideLayouts/slideLayout48.xml"/><Relationship Id="rId1" Type="http://schemas.openxmlformats.org/officeDocument/2006/relationships/themeOverride" Target="../theme/themeOverride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customXml" Target="../ink/ink1.xml"/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14.xml"/><Relationship Id="rId9" Type="http://schemas.openxmlformats.org/officeDocument/2006/relationships/image" Target="../media/image37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png"/><Relationship Id="rId7" Type="http://schemas.openxmlformats.org/officeDocument/2006/relationships/image" Target="../media/image45.png"/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4.png"/><Relationship Id="rId5" Type="http://schemas.openxmlformats.org/officeDocument/2006/relationships/image" Target="../media/image43.jpg"/><Relationship Id="rId4" Type="http://schemas.openxmlformats.org/officeDocument/2006/relationships/image" Target="../media/image42.jpeg"/><Relationship Id="rId9" Type="http://schemas.openxmlformats.org/officeDocument/2006/relationships/image" Target="../media/image47.jpe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fif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71B2258F-86CA-4D4D-8270-BC05FCDEBF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F347A91-D096-4771-A816-EC379EF9349F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50000"/>
          </a:blip>
          <a:srcRect/>
          <a:stretch/>
        </p:blipFill>
        <p:spPr>
          <a:xfrm>
            <a:off x="20" y="1"/>
            <a:ext cx="12191980" cy="685799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96AA0A5-2E4B-4B78-841F-BE748C4EDB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2"/>
            <a:ext cx="9144000" cy="2900518"/>
          </a:xfrm>
        </p:spPr>
        <p:txBody>
          <a:bodyPr>
            <a:normAutofit fontScale="90000"/>
          </a:bodyPr>
          <a:lstStyle/>
          <a:p>
            <a:r>
              <a:rPr lang="hu-HU" sz="7300" b="1" dirty="0"/>
              <a:t>Együtt megvalósítjuk!</a:t>
            </a:r>
            <a:br>
              <a:rPr lang="en-US" sz="7300" dirty="0"/>
            </a:br>
            <a:r>
              <a:rPr lang="hu-HU" i="1" dirty="0"/>
              <a:t>Megoldásunk a piac kihívásaira</a:t>
            </a:r>
            <a:br>
              <a:rPr lang="en-US" dirty="0"/>
            </a:b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7314B36-F99C-477C-8C4C-0BC359FD14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59404"/>
            <a:ext cx="9144000" cy="1098395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rgbClr val="FFFFFF"/>
                </a:solidFill>
              </a:rPr>
              <a:t>Csavajda Zsolt – Jakab Gábor – Wladimir </a:t>
            </a:r>
            <a:r>
              <a:rPr lang="en-US" dirty="0" err="1">
                <a:solidFill>
                  <a:srgbClr val="FFFFFF"/>
                </a:solidFill>
              </a:rPr>
              <a:t>Ruszlán</a:t>
            </a:r>
            <a:endParaRPr lang="en-US" dirty="0">
              <a:solidFill>
                <a:srgbClr val="FFFFFF"/>
              </a:solidFill>
            </a:endParaRPr>
          </a:p>
          <a:p>
            <a:r>
              <a:rPr lang="en-US" dirty="0">
                <a:solidFill>
                  <a:srgbClr val="FFFFFF"/>
                </a:solidFill>
              </a:rPr>
              <a:t>DSM Nutritional Products Hungary</a:t>
            </a:r>
          </a:p>
        </p:txBody>
      </p:sp>
    </p:spTree>
    <p:extLst>
      <p:ext uri="{BB962C8B-B14F-4D97-AF65-F5344CB8AC3E}">
        <p14:creationId xmlns:p14="http://schemas.microsoft.com/office/powerpoint/2010/main" val="317832588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4" name="Rectangle 13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D445B2-37E2-46EF-9A50-681C3AC0A2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7857" y="979876"/>
            <a:ext cx="5065368" cy="5568705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4000" dirty="0">
                <a:solidFill>
                  <a:schemeClr val="bg1"/>
                </a:solidFill>
                <a:latin typeface="Bradley Hand ITC" panose="03070402050302030203" pitchFamily="66" charset="0"/>
              </a:rPr>
              <a:t>A </a:t>
            </a:r>
            <a:r>
              <a:rPr lang="en-US" sz="4000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Fitáz</a:t>
            </a:r>
            <a:r>
              <a:rPr lang="en-US" sz="4000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en-US" sz="4000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enzimünk</a:t>
            </a:r>
            <a:r>
              <a:rPr lang="hu-HU" sz="4000" dirty="0">
                <a:solidFill>
                  <a:schemeClr val="bg1"/>
                </a:solidFill>
                <a:latin typeface="Bradley Hand ITC" panose="03070402050302030203" pitchFamily="66" charset="0"/>
              </a:rPr>
              <a:t>kel</a:t>
            </a:r>
          </a:p>
          <a:p>
            <a:pPr marL="0" indent="0">
              <a:buNone/>
            </a:pPr>
            <a:endParaRPr lang="hu-HU" sz="4000" dirty="0">
              <a:solidFill>
                <a:schemeClr val="bg1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endParaRPr lang="hu-HU" sz="4000" dirty="0">
              <a:solidFill>
                <a:schemeClr val="bg1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r>
              <a:rPr lang="en-US" sz="4000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en-US" sz="40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107.442 t</a:t>
            </a:r>
            <a:r>
              <a:rPr lang="hu-HU" sz="40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-val</a:t>
            </a:r>
            <a:r>
              <a:rPr lang="en-US" sz="40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en-US" sz="4000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kevesebb</a:t>
            </a:r>
            <a:r>
              <a:rPr lang="en-US" sz="4000" dirty="0">
                <a:solidFill>
                  <a:schemeClr val="bg1"/>
                </a:solidFill>
                <a:latin typeface="Bradley Hand ITC" panose="03070402050302030203" pitchFamily="66" charset="0"/>
              </a:rPr>
              <a:t> MCP-t </a:t>
            </a:r>
            <a:r>
              <a:rPr lang="hu-HU" sz="4000" dirty="0">
                <a:solidFill>
                  <a:schemeClr val="bg1"/>
                </a:solidFill>
                <a:latin typeface="Bradley Hand ITC" panose="03070402050302030203" pitchFamily="66" charset="0"/>
              </a:rPr>
              <a:t>k</a:t>
            </a:r>
            <a:r>
              <a:rPr lang="en-US" sz="4000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ellett</a:t>
            </a:r>
            <a:r>
              <a:rPr lang="en-US" sz="4000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en-US" sz="4000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bedolgozni</a:t>
            </a:r>
            <a:r>
              <a:rPr lang="hu-HU" sz="4000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en-US" sz="4000" dirty="0">
                <a:solidFill>
                  <a:schemeClr val="bg1"/>
                </a:solidFill>
                <a:latin typeface="Bradley Hand ITC" panose="03070402050302030203" pitchFamily="66" charset="0"/>
              </a:rPr>
              <a:t>a </a:t>
            </a:r>
            <a:r>
              <a:rPr lang="en-US" sz="4000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keverék</a:t>
            </a:r>
            <a:r>
              <a:rPr lang="hu-HU" sz="4000" dirty="0">
                <a:solidFill>
                  <a:schemeClr val="bg1"/>
                </a:solidFill>
                <a:latin typeface="Bradley Hand ITC" panose="03070402050302030203" pitchFamily="66" charset="0"/>
              </a:rPr>
              <a:t>-</a:t>
            </a:r>
            <a:r>
              <a:rPr lang="en-US" sz="4000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takarányainkba</a:t>
            </a:r>
            <a:r>
              <a:rPr lang="en-US" sz="4000" dirty="0">
                <a:solidFill>
                  <a:schemeClr val="bg1"/>
                </a:solidFill>
                <a:latin typeface="Bradley Hand ITC" panose="03070402050302030203" pitchFamily="66" charset="0"/>
              </a:rPr>
              <a:t>. </a:t>
            </a:r>
            <a:endParaRPr lang="hu-HU" sz="4000" dirty="0">
              <a:solidFill>
                <a:schemeClr val="bg1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endParaRPr lang="hu-HU" sz="4000" dirty="0">
              <a:latin typeface="Bradley Hand ITC" panose="03070402050302030203" pitchFamily="66" charset="0"/>
            </a:endParaRPr>
          </a:p>
        </p:txBody>
      </p:sp>
      <p:pic>
        <p:nvPicPr>
          <p:cNvPr id="9" name="Picture 8" descr="A high angle view of a dam&#10;&#10;Description automatically generated with medium confidence">
            <a:extLst>
              <a:ext uri="{FF2B5EF4-FFF2-40B4-BE49-F238E27FC236}">
                <a16:creationId xmlns:a16="http://schemas.microsoft.com/office/drawing/2014/main" id="{8EB56DA7-21F6-4405-A78D-5A54770FFBC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862" r="22451"/>
          <a:stretch/>
        </p:blipFill>
        <p:spPr>
          <a:xfrm>
            <a:off x="5313225" y="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4336681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street, outdoor, city, lined&#10;&#10;Description automatically generated">
            <a:extLst>
              <a:ext uri="{FF2B5EF4-FFF2-40B4-BE49-F238E27FC236}">
                <a16:creationId xmlns:a16="http://schemas.microsoft.com/office/drawing/2014/main" id="{65C420AD-8D78-490F-8723-98E167DF94E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083"/>
          <a:stretch/>
        </p:blipFill>
        <p:spPr>
          <a:xfrm>
            <a:off x="20" y="10"/>
            <a:ext cx="7009876" cy="6857990"/>
          </a:xfrm>
          <a:custGeom>
            <a:avLst/>
            <a:gdLst/>
            <a:ahLst/>
            <a:cxnLst/>
            <a:rect l="l" t="t" r="r" b="b"/>
            <a:pathLst>
              <a:path w="7009896" h="6858000">
                <a:moveTo>
                  <a:pt x="0" y="0"/>
                </a:moveTo>
                <a:lnTo>
                  <a:pt x="7009896" y="0"/>
                </a:lnTo>
                <a:lnTo>
                  <a:pt x="7009896" y="1"/>
                </a:lnTo>
                <a:lnTo>
                  <a:pt x="6295211" y="1"/>
                </a:lnTo>
                <a:lnTo>
                  <a:pt x="6195255" y="380651"/>
                </a:lnTo>
                <a:cubicBezTo>
                  <a:pt x="5677600" y="2559611"/>
                  <a:pt x="5966601" y="4758249"/>
                  <a:pt x="6880029" y="6647018"/>
                </a:cubicBezTo>
                <a:lnTo>
                  <a:pt x="698828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5FDF4720-5445-47BE-89FE-E40D1AE6F6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5711927" y="-1"/>
            <a:ext cx="6480073" cy="6858002"/>
          </a:xfrm>
          <a:custGeom>
            <a:avLst/>
            <a:gdLst>
              <a:gd name="connsiteX0" fmla="*/ 6130244 w 6480073"/>
              <a:gd name="connsiteY0" fmla="*/ 0 h 6858002"/>
              <a:gd name="connsiteX1" fmla="*/ 6212951 w 6480073"/>
              <a:gd name="connsiteY1" fmla="*/ 314584 h 6858002"/>
              <a:gd name="connsiteX2" fmla="*/ 5540779 w 6480073"/>
              <a:gd name="connsiteY2" fmla="*/ 6756649 h 6858002"/>
              <a:gd name="connsiteX3" fmla="*/ 5489971 w 6480073"/>
              <a:gd name="connsiteY3" fmla="*/ 6858002 h 6858002"/>
              <a:gd name="connsiteX4" fmla="*/ 0 w 6480073"/>
              <a:gd name="connsiteY4" fmla="*/ 6858002 h 6858002"/>
              <a:gd name="connsiteX5" fmla="*/ 0 w 6480073"/>
              <a:gd name="connsiteY5" fmla="*/ 0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480073" h="6858002">
                <a:moveTo>
                  <a:pt x="6130244" y="0"/>
                </a:moveTo>
                <a:lnTo>
                  <a:pt x="6212951" y="314584"/>
                </a:lnTo>
                <a:cubicBezTo>
                  <a:pt x="6745828" y="2551616"/>
                  <a:pt x="6460994" y="4808873"/>
                  <a:pt x="5540779" y="6756649"/>
                </a:cubicBezTo>
                <a:lnTo>
                  <a:pt x="5489971" y="6858002"/>
                </a:lnTo>
                <a:lnTo>
                  <a:pt x="0" y="6858002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 useBgFill="1">
        <p:nvSpPr>
          <p:cNvPr id="39" name="Freeform: Shape 38">
            <a:extLst>
              <a:ext uri="{FF2B5EF4-FFF2-40B4-BE49-F238E27FC236}">
                <a16:creationId xmlns:a16="http://schemas.microsoft.com/office/drawing/2014/main" id="{AC8710B4-A815-4082-9E4F-F13A000709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5942784" y="0"/>
            <a:ext cx="6249216" cy="6858001"/>
          </a:xfrm>
          <a:custGeom>
            <a:avLst/>
            <a:gdLst>
              <a:gd name="connsiteX0" fmla="*/ 0 w 6249216"/>
              <a:gd name="connsiteY0" fmla="*/ 0 h 6858001"/>
              <a:gd name="connsiteX1" fmla="*/ 5893742 w 6249216"/>
              <a:gd name="connsiteY1" fmla="*/ 1 h 6858001"/>
              <a:gd name="connsiteX2" fmla="*/ 5993697 w 6249216"/>
              <a:gd name="connsiteY2" fmla="*/ 380651 h 6858001"/>
              <a:gd name="connsiteX3" fmla="*/ 5308924 w 6249216"/>
              <a:gd name="connsiteY3" fmla="*/ 6647018 h 6858001"/>
              <a:gd name="connsiteX4" fmla="*/ 5200672 w 6249216"/>
              <a:gd name="connsiteY4" fmla="*/ 6858001 h 6858001"/>
              <a:gd name="connsiteX5" fmla="*/ 1 w 6249216"/>
              <a:gd name="connsiteY5" fmla="*/ 6858001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249216" h="6858001">
                <a:moveTo>
                  <a:pt x="0" y="0"/>
                </a:moveTo>
                <a:lnTo>
                  <a:pt x="5893742" y="1"/>
                </a:lnTo>
                <a:lnTo>
                  <a:pt x="5993697" y="380651"/>
                </a:lnTo>
                <a:cubicBezTo>
                  <a:pt x="6511353" y="2559611"/>
                  <a:pt x="6222352" y="4758249"/>
                  <a:pt x="5308924" y="6647018"/>
                </a:cubicBezTo>
                <a:lnTo>
                  <a:pt x="5200672" y="6858001"/>
                </a:lnTo>
                <a:lnTo>
                  <a:pt x="1" y="6858001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8AA4AC3-04D7-4B5E-B042-494442AD22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27066" y="533675"/>
            <a:ext cx="5768687" cy="1325563"/>
          </a:xfrm>
        </p:spPr>
        <p:txBody>
          <a:bodyPr>
            <a:noAutofit/>
          </a:bodyPr>
          <a:lstStyle/>
          <a:p>
            <a:r>
              <a:rPr lang="hu-HU" sz="4800" b="1" dirty="0">
                <a:latin typeface="Bradley Hand ITC" panose="03070402050302030203" pitchFamily="66" charset="0"/>
              </a:rPr>
              <a:t>Eladott Mycofix</a:t>
            </a:r>
            <a:r>
              <a:rPr lang="hu-HU" sz="4800" b="1" baseline="30000" dirty="0">
                <a:latin typeface="Bradley Hand ITC" panose="03070402050302030203" pitchFamily="66" charset="0"/>
              </a:rPr>
              <a:t>@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3E24EB-FFD0-48AD-85AF-3296A2A3F7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327066" y="1998788"/>
            <a:ext cx="5294318" cy="3181684"/>
          </a:xfrm>
        </p:spPr>
        <p:txBody>
          <a:bodyPr anchor="t">
            <a:normAutofit/>
          </a:bodyPr>
          <a:lstStyle/>
          <a:p>
            <a:r>
              <a:rPr lang="hu-HU" sz="4400" dirty="0">
                <a:latin typeface="Bradley Hand ITC" panose="03070402050302030203" pitchFamily="66" charset="0"/>
              </a:rPr>
              <a:t> </a:t>
            </a:r>
            <a:r>
              <a:rPr lang="hu-HU" sz="44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7,8 km-es </a:t>
            </a:r>
            <a:r>
              <a:rPr lang="hu-HU" sz="4400" dirty="0">
                <a:latin typeface="Bradley Hand ITC" panose="03070402050302030203" pitchFamily="66" charset="0"/>
              </a:rPr>
              <a:t>sor </a:t>
            </a:r>
          </a:p>
          <a:p>
            <a:pPr marL="0" indent="0">
              <a:buNone/>
            </a:pPr>
            <a:endParaRPr lang="hu-HU" sz="4400" dirty="0">
              <a:latin typeface="Bradley Hand ITC" panose="03070402050302030203" pitchFamily="66" charset="0"/>
            </a:endParaRPr>
          </a:p>
        </p:txBody>
      </p:sp>
      <p:pic>
        <p:nvPicPr>
          <p:cNvPr id="9" name="Picture 8" descr="Map&#10;&#10;Description automatically generated">
            <a:extLst>
              <a:ext uri="{FF2B5EF4-FFF2-40B4-BE49-F238E27FC236}">
                <a16:creationId xmlns:a16="http://schemas.microsoft.com/office/drawing/2014/main" id="{C801EC0C-5553-418B-987A-0C44E92992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8547" y="2962480"/>
            <a:ext cx="3859627" cy="3722147"/>
          </a:xfrm>
          <a:prstGeom prst="rect">
            <a:avLst/>
          </a:prstGeom>
          <a:effectLst>
            <a:softEdge rad="215900"/>
          </a:effectLst>
        </p:spPr>
      </p:pic>
    </p:spTree>
    <p:extLst>
      <p:ext uri="{BB962C8B-B14F-4D97-AF65-F5344CB8AC3E}">
        <p14:creationId xmlns:p14="http://schemas.microsoft.com/office/powerpoint/2010/main" val="32949016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Oval 11">
            <a:extLst>
              <a:ext uri="{FF2B5EF4-FFF2-40B4-BE49-F238E27FC236}">
                <a16:creationId xmlns:a16="http://schemas.microsoft.com/office/drawing/2014/main" id="{0C45045A-6083-4B3E-956A-6758233752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730744" y="832894"/>
            <a:ext cx="3300984" cy="330098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A picture containing sky, outdoor, mountain, people&#10;&#10;Description automatically generated">
            <a:extLst>
              <a:ext uri="{FF2B5EF4-FFF2-40B4-BE49-F238E27FC236}">
                <a16:creationId xmlns:a16="http://schemas.microsoft.com/office/drawing/2014/main" id="{0D92842D-458B-4834-81F3-D0FD4421B6E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85" r="19863" b="-3"/>
          <a:stretch/>
        </p:blipFill>
        <p:spPr>
          <a:xfrm>
            <a:off x="558060" y="387793"/>
            <a:ext cx="3958522" cy="3958522"/>
          </a:xfrm>
          <a:custGeom>
            <a:avLst/>
            <a:gdLst/>
            <a:ahLst/>
            <a:cxnLst/>
            <a:rect l="l" t="t" r="r" b="b"/>
            <a:pathLst>
              <a:path w="2971800" h="2971800">
                <a:moveTo>
                  <a:pt x="1485900" y="0"/>
                </a:moveTo>
                <a:cubicBezTo>
                  <a:pt x="2306540" y="0"/>
                  <a:pt x="2971800" y="665260"/>
                  <a:pt x="2971800" y="1485900"/>
                </a:cubicBezTo>
                <a:cubicBezTo>
                  <a:pt x="2971800" y="2306540"/>
                  <a:pt x="2306540" y="2971800"/>
                  <a:pt x="1485900" y="2971800"/>
                </a:cubicBezTo>
                <a:cubicBezTo>
                  <a:pt x="665260" y="2971800"/>
                  <a:pt x="0" y="2306540"/>
                  <a:pt x="0" y="1485900"/>
                </a:cubicBezTo>
                <a:cubicBezTo>
                  <a:pt x="0" y="665260"/>
                  <a:pt x="665260" y="0"/>
                  <a:pt x="1485900" y="0"/>
                </a:cubicBezTo>
                <a:close/>
              </a:path>
            </a:pathLst>
          </a:cu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42875DDC-0225-45F8-B745-78688F2D1A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445509" y="832894"/>
            <a:ext cx="3300984" cy="330098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 descr="A picture containing sky, outdoor, mountain, people&#10;&#10;Description automatically generated">
            <a:extLst>
              <a:ext uri="{FF2B5EF4-FFF2-40B4-BE49-F238E27FC236}">
                <a16:creationId xmlns:a16="http://schemas.microsoft.com/office/drawing/2014/main" id="{9C6D7FC8-609A-4489-8ADF-EC4954EB57A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85" r="19863" b="-3"/>
          <a:stretch/>
        </p:blipFill>
        <p:spPr>
          <a:xfrm>
            <a:off x="4272825" y="387793"/>
            <a:ext cx="3958522" cy="3958522"/>
          </a:xfrm>
          <a:custGeom>
            <a:avLst/>
            <a:gdLst/>
            <a:ahLst/>
            <a:cxnLst/>
            <a:rect l="l" t="t" r="r" b="b"/>
            <a:pathLst>
              <a:path w="2971800" h="2971800">
                <a:moveTo>
                  <a:pt x="1485900" y="0"/>
                </a:moveTo>
                <a:cubicBezTo>
                  <a:pt x="2306540" y="0"/>
                  <a:pt x="2971800" y="665260"/>
                  <a:pt x="2971800" y="1485900"/>
                </a:cubicBezTo>
                <a:cubicBezTo>
                  <a:pt x="2971800" y="2306540"/>
                  <a:pt x="2306540" y="2971800"/>
                  <a:pt x="1485900" y="2971800"/>
                </a:cubicBezTo>
                <a:cubicBezTo>
                  <a:pt x="665260" y="2971800"/>
                  <a:pt x="0" y="2306540"/>
                  <a:pt x="0" y="1485900"/>
                </a:cubicBezTo>
                <a:cubicBezTo>
                  <a:pt x="0" y="665260"/>
                  <a:pt x="665260" y="0"/>
                  <a:pt x="1485900" y="0"/>
                </a:cubicBezTo>
                <a:close/>
              </a:path>
            </a:pathLst>
          </a:cu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12617755-D451-4BAF-9B55-518297BFF4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8160273" y="832894"/>
            <a:ext cx="3300984" cy="3300984"/>
          </a:xfrm>
          <a:prstGeom prst="ellipse">
            <a:avLst/>
          </a:prstGeom>
          <a:solidFill>
            <a:srgbClr val="FFFFFF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7" name="Picture 6" descr="A picture containing sky, outdoor, mountain, people&#10;&#10;Description automatically generated">
            <a:extLst>
              <a:ext uri="{FF2B5EF4-FFF2-40B4-BE49-F238E27FC236}">
                <a16:creationId xmlns:a16="http://schemas.microsoft.com/office/drawing/2014/main" id="{990AA05A-D59E-4639-A2ED-00F5D87C4AD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385" r="19863" b="-3"/>
          <a:stretch/>
        </p:blipFill>
        <p:spPr>
          <a:xfrm>
            <a:off x="7987589" y="387793"/>
            <a:ext cx="3958522" cy="3958522"/>
          </a:xfrm>
          <a:custGeom>
            <a:avLst/>
            <a:gdLst/>
            <a:ahLst/>
            <a:cxnLst/>
            <a:rect l="l" t="t" r="r" b="b"/>
            <a:pathLst>
              <a:path w="2971800" h="2971800">
                <a:moveTo>
                  <a:pt x="1485900" y="0"/>
                </a:moveTo>
                <a:cubicBezTo>
                  <a:pt x="2306540" y="0"/>
                  <a:pt x="2971800" y="665260"/>
                  <a:pt x="2971800" y="1485900"/>
                </a:cubicBezTo>
                <a:cubicBezTo>
                  <a:pt x="2971800" y="2306540"/>
                  <a:pt x="2306540" y="2971800"/>
                  <a:pt x="1485900" y="2971800"/>
                </a:cubicBezTo>
                <a:cubicBezTo>
                  <a:pt x="665260" y="2971800"/>
                  <a:pt x="0" y="2306540"/>
                  <a:pt x="0" y="1485900"/>
                </a:cubicBezTo>
                <a:cubicBezTo>
                  <a:pt x="0" y="665260"/>
                  <a:pt x="665260" y="0"/>
                  <a:pt x="1485900" y="0"/>
                </a:cubicBezTo>
                <a:close/>
              </a:path>
            </a:pathLst>
          </a:cu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8AA665C-B1DC-4A68-91D1-44B04A491038}"/>
              </a:ext>
            </a:extLst>
          </p:cNvPr>
          <p:cNvSpPr txBox="1"/>
          <p:nvPr/>
        </p:nvSpPr>
        <p:spPr>
          <a:xfrm>
            <a:off x="427383" y="4578979"/>
            <a:ext cx="11171582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kumimoji="0" lang="hu-HU" sz="43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4,579 millió t</a:t>
            </a:r>
            <a:r>
              <a:rPr kumimoji="0" lang="hu-HU" sz="43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 </a:t>
            </a:r>
            <a:r>
              <a:rPr kumimoji="0" lang="en-US" sz="4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toxin</a:t>
            </a:r>
            <a:r>
              <a:rPr kumimoji="0" lang="hu-HU" sz="4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-</a:t>
            </a:r>
            <a:r>
              <a:rPr kumimoji="0" lang="en-US" sz="43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mentesített</a:t>
            </a:r>
            <a:r>
              <a:rPr kumimoji="0" lang="hu-HU" sz="4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 </a:t>
            </a:r>
            <a:r>
              <a:rPr kumimoji="0" lang="en-US" sz="43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takarmány</a:t>
            </a:r>
            <a:r>
              <a:rPr kumimoji="0" lang="hu-HU" sz="4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,</a:t>
            </a:r>
            <a:br>
              <a:rPr kumimoji="0" lang="hu-HU" sz="4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</a:br>
            <a:r>
              <a:rPr kumimoji="0" lang="hu-HU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  </a:t>
            </a:r>
          </a:p>
          <a:p>
            <a:pPr algn="ctr"/>
            <a:r>
              <a:rPr kumimoji="0" lang="hu-HU" sz="4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j-ea"/>
                <a:cs typeface="+mj-cs"/>
              </a:rPr>
              <a:t>...ami kitesz 3 Gízai nagy piramist</a:t>
            </a:r>
            <a:endParaRPr lang="hu-HU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BDCE3B9-098C-4A46-ACBD-609402B95873}"/>
              </a:ext>
            </a:extLst>
          </p:cNvPr>
          <p:cNvSpPr/>
          <p:nvPr/>
        </p:nvSpPr>
        <p:spPr>
          <a:xfrm>
            <a:off x="10774017" y="0"/>
            <a:ext cx="1411357" cy="39756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8881794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2" name="Rectangle 21">
            <a:extLst>
              <a:ext uri="{FF2B5EF4-FFF2-40B4-BE49-F238E27FC236}">
                <a16:creationId xmlns:a16="http://schemas.microsoft.com/office/drawing/2014/main" id="{FC3D2873-2194-4FB0-BFBA-7E7EEB9848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Text&#10;&#10;Description automatically generated with low confidence">
            <a:extLst>
              <a:ext uri="{FF2B5EF4-FFF2-40B4-BE49-F238E27FC236}">
                <a16:creationId xmlns:a16="http://schemas.microsoft.com/office/drawing/2014/main" id="{4053AA30-CE7E-4E85-A270-758568D17E6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9" r="15036" b="4"/>
          <a:stretch/>
        </p:blipFill>
        <p:spPr>
          <a:xfrm>
            <a:off x="8529321" y="10"/>
            <a:ext cx="3662680" cy="3401558"/>
          </a:xfrm>
          <a:custGeom>
            <a:avLst/>
            <a:gdLst/>
            <a:ahLst/>
            <a:cxnLst/>
            <a:rect l="l" t="t" r="r" b="b"/>
            <a:pathLst>
              <a:path w="3662680" h="3401568">
                <a:moveTo>
                  <a:pt x="0" y="0"/>
                </a:moveTo>
                <a:lnTo>
                  <a:pt x="3662680" y="0"/>
                </a:lnTo>
                <a:lnTo>
                  <a:pt x="3662680" y="3401568"/>
                </a:lnTo>
                <a:lnTo>
                  <a:pt x="774527" y="3401568"/>
                </a:lnTo>
                <a:lnTo>
                  <a:pt x="769892" y="3133175"/>
                </a:lnTo>
                <a:cubicBezTo>
                  <a:pt x="732577" y="2055441"/>
                  <a:pt x="492520" y="1056020"/>
                  <a:pt x="104445" y="215033"/>
                </a:cubicBezTo>
                <a:close/>
              </a:path>
            </a:pathLst>
          </a:custGeom>
        </p:spPr>
      </p:pic>
      <p:pic>
        <p:nvPicPr>
          <p:cNvPr id="7" name="Picture 6" descr="Text&#10;&#10;Description automatically generated">
            <a:extLst>
              <a:ext uri="{FF2B5EF4-FFF2-40B4-BE49-F238E27FC236}">
                <a16:creationId xmlns:a16="http://schemas.microsoft.com/office/drawing/2014/main" id="{E0369385-1CA2-4EBA-9613-E0F68C2D695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01" r="4" b="4"/>
          <a:stretch/>
        </p:blipFill>
        <p:spPr>
          <a:xfrm>
            <a:off x="5115314" y="10"/>
            <a:ext cx="4118110" cy="3401558"/>
          </a:xfrm>
          <a:custGeom>
            <a:avLst/>
            <a:gdLst/>
            <a:ahLst/>
            <a:cxnLst/>
            <a:rect l="l" t="t" r="r" b="b"/>
            <a:pathLst>
              <a:path w="4118110" h="3401568">
                <a:moveTo>
                  <a:pt x="0" y="0"/>
                </a:moveTo>
                <a:lnTo>
                  <a:pt x="3343575" y="0"/>
                </a:lnTo>
                <a:lnTo>
                  <a:pt x="3448028" y="215050"/>
                </a:lnTo>
                <a:cubicBezTo>
                  <a:pt x="3836103" y="1056037"/>
                  <a:pt x="4076161" y="2055458"/>
                  <a:pt x="4113475" y="3133192"/>
                </a:cubicBezTo>
                <a:lnTo>
                  <a:pt x="4118110" y="3401568"/>
                </a:lnTo>
                <a:lnTo>
                  <a:pt x="801224" y="3401568"/>
                </a:lnTo>
                <a:lnTo>
                  <a:pt x="797493" y="3185579"/>
                </a:lnTo>
                <a:cubicBezTo>
                  <a:pt x="756786" y="2009870"/>
                  <a:pt x="474799" y="927359"/>
                  <a:pt x="22579" y="42066"/>
                </a:cubicBezTo>
                <a:close/>
              </a:path>
            </a:pathLst>
          </a:custGeom>
        </p:spPr>
      </p:pic>
      <p:pic>
        <p:nvPicPr>
          <p:cNvPr id="9" name="Picture 8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84A1F894-CCE2-4B2B-B9AA-626761E309D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000" r="-1" b="12426"/>
          <a:stretch/>
        </p:blipFill>
        <p:spPr>
          <a:xfrm>
            <a:off x="5168353" y="3456432"/>
            <a:ext cx="7023646" cy="3401568"/>
          </a:xfrm>
          <a:custGeom>
            <a:avLst/>
            <a:gdLst/>
            <a:ahLst/>
            <a:cxnLst/>
            <a:rect l="l" t="t" r="r" b="b"/>
            <a:pathLst>
              <a:path w="7023646" h="3401568">
                <a:moveTo>
                  <a:pt x="749132" y="0"/>
                </a:moveTo>
                <a:lnTo>
                  <a:pt x="7023646" y="0"/>
                </a:lnTo>
                <a:lnTo>
                  <a:pt x="7023646" y="3401568"/>
                </a:lnTo>
                <a:lnTo>
                  <a:pt x="0" y="3401568"/>
                </a:lnTo>
                <a:lnTo>
                  <a:pt x="79008" y="3238906"/>
                </a:lnTo>
                <a:cubicBezTo>
                  <a:pt x="502362" y="2321466"/>
                  <a:pt x="749563" y="1215476"/>
                  <a:pt x="749563" y="24956"/>
                </a:cubicBezTo>
                <a:close/>
              </a:path>
            </a:pathLst>
          </a:custGeom>
        </p:spPr>
      </p:pic>
      <p:sp useBgFill="1">
        <p:nvSpPr>
          <p:cNvPr id="24" name="Freeform: Shape 23">
            <a:extLst>
              <a:ext uri="{FF2B5EF4-FFF2-40B4-BE49-F238E27FC236}">
                <a16:creationId xmlns:a16="http://schemas.microsoft.com/office/drawing/2014/main" id="{B228652A-FD81-4A3C-B164-2012BF4EEA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927943" cy="6858000"/>
          </a:xfrm>
          <a:custGeom>
            <a:avLst/>
            <a:gdLst>
              <a:gd name="connsiteX0" fmla="*/ 0 w 5927943"/>
              <a:gd name="connsiteY0" fmla="*/ 0 h 6858000"/>
              <a:gd name="connsiteX1" fmla="*/ 5129522 w 5927943"/>
              <a:gd name="connsiteY1" fmla="*/ 0 h 6858000"/>
              <a:gd name="connsiteX2" fmla="*/ 5289639 w 5927943"/>
              <a:gd name="connsiteY2" fmla="*/ 323150 h 6858000"/>
              <a:gd name="connsiteX3" fmla="*/ 5927943 w 5927943"/>
              <a:gd name="connsiteY3" fmla="*/ 3476847 h 6858000"/>
              <a:gd name="connsiteX4" fmla="*/ 5289639 w 5927943"/>
              <a:gd name="connsiteY4" fmla="*/ 6630545 h 6858000"/>
              <a:gd name="connsiteX5" fmla="*/ 5176937 w 5927943"/>
              <a:gd name="connsiteY5" fmla="*/ 6858000 h 6858000"/>
              <a:gd name="connsiteX6" fmla="*/ 0 w 5927943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27943" h="6858000">
                <a:moveTo>
                  <a:pt x="0" y="0"/>
                </a:moveTo>
                <a:lnTo>
                  <a:pt x="5129522" y="0"/>
                </a:lnTo>
                <a:lnTo>
                  <a:pt x="5289639" y="323150"/>
                </a:lnTo>
                <a:cubicBezTo>
                  <a:pt x="5692631" y="1223391"/>
                  <a:pt x="5927943" y="2308646"/>
                  <a:pt x="5927943" y="3476847"/>
                </a:cubicBezTo>
                <a:cubicBezTo>
                  <a:pt x="5927943" y="4645048"/>
                  <a:pt x="5692631" y="5730304"/>
                  <a:pt x="5289639" y="6630545"/>
                </a:cubicBezTo>
                <a:lnTo>
                  <a:pt x="5176937" y="6858000"/>
                </a:lnTo>
                <a:lnTo>
                  <a:pt x="0" y="6858000"/>
                </a:lnTo>
                <a:close/>
              </a:path>
            </a:pathLst>
          </a:custGeom>
          <a:ln w="9525">
            <a:solidFill>
              <a:srgbClr val="EFEFEF"/>
            </a:solidFill>
          </a:ln>
          <a:effectLst>
            <a:outerShdw blurRad="50800" dist="38100" algn="l" rotWithShape="0">
              <a:schemeClr val="bg1">
                <a:lumMod val="85000"/>
                <a:alpha val="3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 useBgFill="1">
        <p:nvSpPr>
          <p:cNvPr id="26" name="Freeform: Shape 25">
            <a:extLst>
              <a:ext uri="{FF2B5EF4-FFF2-40B4-BE49-F238E27FC236}">
                <a16:creationId xmlns:a16="http://schemas.microsoft.com/office/drawing/2014/main" id="{FE8F25D8-4980-4C67-9E0C-7BE94C9CBF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5917310" cy="6858000"/>
          </a:xfrm>
          <a:custGeom>
            <a:avLst/>
            <a:gdLst>
              <a:gd name="connsiteX0" fmla="*/ 0 w 5917310"/>
              <a:gd name="connsiteY0" fmla="*/ 0 h 6858000"/>
              <a:gd name="connsiteX1" fmla="*/ 5118889 w 5917310"/>
              <a:gd name="connsiteY1" fmla="*/ 0 h 6858000"/>
              <a:gd name="connsiteX2" fmla="*/ 5279006 w 5917310"/>
              <a:gd name="connsiteY2" fmla="*/ 323150 h 6858000"/>
              <a:gd name="connsiteX3" fmla="*/ 5917310 w 5917310"/>
              <a:gd name="connsiteY3" fmla="*/ 3476847 h 6858000"/>
              <a:gd name="connsiteX4" fmla="*/ 5279006 w 5917310"/>
              <a:gd name="connsiteY4" fmla="*/ 6630545 h 6858000"/>
              <a:gd name="connsiteX5" fmla="*/ 5166304 w 5917310"/>
              <a:gd name="connsiteY5" fmla="*/ 6858000 h 6858000"/>
              <a:gd name="connsiteX6" fmla="*/ 0 w 5917310"/>
              <a:gd name="connsiteY6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17310" h="6858000">
                <a:moveTo>
                  <a:pt x="0" y="0"/>
                </a:moveTo>
                <a:lnTo>
                  <a:pt x="5118889" y="0"/>
                </a:lnTo>
                <a:lnTo>
                  <a:pt x="5279006" y="323150"/>
                </a:lnTo>
                <a:cubicBezTo>
                  <a:pt x="5681998" y="1223391"/>
                  <a:pt x="5917310" y="2308646"/>
                  <a:pt x="5917310" y="3476847"/>
                </a:cubicBezTo>
                <a:cubicBezTo>
                  <a:pt x="5917310" y="4645048"/>
                  <a:pt x="5681998" y="5730304"/>
                  <a:pt x="5279006" y="6630545"/>
                </a:cubicBezTo>
                <a:lnTo>
                  <a:pt x="5166304" y="6858000"/>
                </a:lnTo>
                <a:lnTo>
                  <a:pt x="0" y="6858000"/>
                </a:lnTo>
                <a:close/>
              </a:path>
            </a:pathLst>
          </a:custGeom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F7F961-748A-4820-AF38-EEB246CB2D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4119" y="1090185"/>
            <a:ext cx="5489031" cy="2311383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en-US" sz="5400" b="1" kern="1200" dirty="0">
                <a:solidFill>
                  <a:srgbClr val="FFFF00"/>
                </a:solidFill>
                <a:latin typeface="Bradley Hand ITC" panose="03070402050302030203" pitchFamily="66" charset="0"/>
              </a:rPr>
              <a:t>7657</a:t>
            </a:r>
            <a:r>
              <a:rPr lang="en-US" sz="5400" kern="1200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en-US" sz="5400" kern="1200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minta</a:t>
            </a:r>
            <a:r>
              <a:rPr lang="en-US" sz="5400" kern="1200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hu-HU" sz="5400" kern="1200" dirty="0">
                <a:solidFill>
                  <a:schemeClr val="bg1"/>
                </a:solidFill>
                <a:latin typeface="Bradley Hand ITC" panose="03070402050302030203" pitchFamily="66" charset="0"/>
              </a:rPr>
              <a:t>toxinvizsgálata</a:t>
            </a:r>
            <a:r>
              <a:rPr lang="hu-HU" sz="5400" dirty="0">
                <a:solidFill>
                  <a:schemeClr val="bg1"/>
                </a:solidFill>
                <a:latin typeface="Bradley Hand ITC" panose="03070402050302030203" pitchFamily="66" charset="0"/>
              </a:rPr>
              <a:t> a</a:t>
            </a:r>
            <a:r>
              <a:rPr lang="en-US" sz="5400" kern="1200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hu-HU" sz="5400" dirty="0">
                <a:solidFill>
                  <a:schemeClr val="bg1"/>
                </a:solidFill>
                <a:latin typeface="Bradley Hand ITC" panose="03070402050302030203" pitchFamily="66" charset="0"/>
              </a:rPr>
              <a:t>t</a:t>
            </a:r>
            <a:r>
              <a:rPr lang="en-US" sz="5400" kern="1200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ulln</a:t>
            </a:r>
            <a:r>
              <a:rPr lang="en-US" sz="5400" kern="1200" dirty="0">
                <a:solidFill>
                  <a:schemeClr val="bg1"/>
                </a:solidFill>
                <a:latin typeface="Bradley Hand ITC" panose="03070402050302030203" pitchFamily="66" charset="0"/>
              </a:rPr>
              <a:t>-</a:t>
            </a:r>
            <a:r>
              <a:rPr lang="hu-HU" sz="5400" kern="1200" dirty="0">
                <a:solidFill>
                  <a:schemeClr val="bg1"/>
                </a:solidFill>
                <a:latin typeface="Bradley Hand ITC" panose="03070402050302030203" pitchFamily="66" charset="0"/>
              </a:rPr>
              <a:t>i laborunkban</a:t>
            </a:r>
            <a:endParaRPr lang="en-US" sz="5400" kern="1200" dirty="0">
              <a:solidFill>
                <a:schemeClr val="bg1"/>
              </a:solidFill>
              <a:latin typeface="Bradley Hand ITC" panose="03070402050302030203" pitchFamily="66" charset="0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A214C69-1234-4E5D-91CD-BEA0020425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5400000">
            <a:off x="767989" y="346791"/>
            <a:ext cx="146304" cy="70408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F86E49C8-40C0-4E80-BAC0-9A66298F1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89098" y="4461119"/>
            <a:ext cx="5019074" cy="18288"/>
          </a:xfrm>
          <a:prstGeom prst="rect">
            <a:avLst/>
          </a:prstGeom>
          <a:solidFill>
            <a:srgbClr val="D5D5D5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BABB734-2476-4DA3-813F-3F40E11E87C8}"/>
              </a:ext>
            </a:extLst>
          </p:cNvPr>
          <p:cNvSpPr txBox="1">
            <a:spLocks/>
          </p:cNvSpPr>
          <p:nvPr/>
        </p:nvSpPr>
        <p:spPr>
          <a:xfrm>
            <a:off x="489097" y="4854170"/>
            <a:ext cx="5489031" cy="1560749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hu-HU" sz="5400" dirty="0">
                <a:solidFill>
                  <a:schemeClr val="bg1"/>
                </a:solidFill>
                <a:latin typeface="Bradley Hand ITC" panose="03070402050302030203" pitchFamily="66" charset="0"/>
              </a:rPr>
              <a:t>1 ember </a:t>
            </a:r>
            <a:r>
              <a:rPr lang="hu-HU" sz="54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2,2 évi </a:t>
            </a:r>
            <a:r>
              <a:rPr lang="hu-HU" sz="5400" dirty="0">
                <a:solidFill>
                  <a:schemeClr val="bg1"/>
                </a:solidFill>
                <a:latin typeface="Bradley Hand ITC" panose="03070402050302030203" pitchFamily="66" charset="0"/>
              </a:rPr>
              <a:t>munkaideje</a:t>
            </a:r>
            <a:endParaRPr lang="en-US" sz="5400" dirty="0">
              <a:solidFill>
                <a:schemeClr val="bg1"/>
              </a:solidFill>
              <a:latin typeface="Bradley Hand ITC" panose="03070402050302030203" pitchFamily="66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1C5FBCD-F7E6-4FDB-A627-ADAE74DA36CE}"/>
              </a:ext>
            </a:extLst>
          </p:cNvPr>
          <p:cNvSpPr/>
          <p:nvPr/>
        </p:nvSpPr>
        <p:spPr>
          <a:xfrm>
            <a:off x="407504" y="357809"/>
            <a:ext cx="954157" cy="576469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7211600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69E798CC-1D4B-4144-B247-8875E6138F9D}"/>
              </a:ext>
            </a:extLst>
          </p:cNvPr>
          <p:cNvSpPr/>
          <p:nvPr/>
        </p:nvSpPr>
        <p:spPr>
          <a:xfrm>
            <a:off x="8177791" y="1249741"/>
            <a:ext cx="3657600" cy="4407039"/>
          </a:xfrm>
          <a:prstGeom prst="roundRect">
            <a:avLst>
              <a:gd name="adj" fmla="val 5483"/>
            </a:avLst>
          </a:prstGeom>
          <a:solidFill>
            <a:schemeClr val="accent5">
              <a:lumMod val="60000"/>
              <a:lumOff val="40000"/>
            </a:schemeClr>
          </a:solidFill>
          <a:ln w="5080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DB804B46-83FD-4A45-BA08-647BEC4E11A7}"/>
              </a:ext>
            </a:extLst>
          </p:cNvPr>
          <p:cNvSpPr/>
          <p:nvPr/>
        </p:nvSpPr>
        <p:spPr>
          <a:xfrm>
            <a:off x="4342148" y="1225479"/>
            <a:ext cx="3657600" cy="4407039"/>
          </a:xfrm>
          <a:prstGeom prst="roundRect">
            <a:avLst>
              <a:gd name="adj" fmla="val 5483"/>
            </a:avLst>
          </a:prstGeom>
          <a:solidFill>
            <a:srgbClr val="99FF99"/>
          </a:solidFill>
          <a:ln w="50800">
            <a:solidFill>
              <a:srgbClr val="00B05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10" name="Rectangle: Rounded Corners 9">
            <a:extLst>
              <a:ext uri="{FF2B5EF4-FFF2-40B4-BE49-F238E27FC236}">
                <a16:creationId xmlns:a16="http://schemas.microsoft.com/office/drawing/2014/main" id="{EA7E5DF7-3EC6-4CC6-A57A-79551A241925}"/>
              </a:ext>
            </a:extLst>
          </p:cNvPr>
          <p:cNvSpPr/>
          <p:nvPr/>
        </p:nvSpPr>
        <p:spPr>
          <a:xfrm>
            <a:off x="473545" y="1225480"/>
            <a:ext cx="3657600" cy="4407039"/>
          </a:xfrm>
          <a:prstGeom prst="roundRect">
            <a:avLst>
              <a:gd name="adj" fmla="val 5483"/>
            </a:avLst>
          </a:prstGeom>
          <a:solidFill>
            <a:schemeClr val="accent1">
              <a:lumMod val="40000"/>
              <a:lumOff val="60000"/>
            </a:schemeClr>
          </a:solidFill>
          <a:ln w="50800">
            <a:solidFill>
              <a:schemeClr val="tx2">
                <a:lumMod val="60000"/>
                <a:lumOff val="4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FB7AACA-67B7-442A-BF5E-704FF3F1DC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8000" y="483630"/>
            <a:ext cx="11262666" cy="443198"/>
          </a:xfrm>
        </p:spPr>
        <p:txBody>
          <a:bodyPr/>
          <a:lstStyle/>
          <a:p>
            <a:r>
              <a:rPr lang="en-US" dirty="0"/>
              <a:t>A </a:t>
            </a:r>
            <a:r>
              <a:rPr lang="en-US" dirty="0" err="1"/>
              <a:t>jelen</a:t>
            </a:r>
            <a:r>
              <a:rPr lang="en-US" dirty="0"/>
              <a:t> és </a:t>
            </a:r>
            <a:r>
              <a:rPr lang="en-US" dirty="0" err="1"/>
              <a:t>jövő</a:t>
            </a:r>
            <a:r>
              <a:rPr lang="en-US" dirty="0"/>
              <a:t>…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50ACF2B5-BE2C-481E-8334-1FEADD1DFC3F}"/>
              </a:ext>
            </a:extLst>
          </p:cNvPr>
          <p:cNvSpPr/>
          <p:nvPr/>
        </p:nvSpPr>
        <p:spPr bwMode="auto">
          <a:xfrm>
            <a:off x="616452" y="1300943"/>
            <a:ext cx="3469832" cy="38259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Megbizhatóság</a:t>
            </a:r>
            <a:endParaRPr lang="en-US" sz="32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algn="ctr"/>
            <a:r>
              <a:rPr lang="en-US" sz="32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Ár</a:t>
            </a:r>
            <a:r>
              <a:rPr lang="en-US" sz="3200" dirty="0">
                <a:solidFill>
                  <a:schemeClr val="tx2">
                    <a:lumMod val="60000"/>
                    <a:lumOff val="40000"/>
                  </a:schemeClr>
                </a:solidFill>
              </a:rPr>
              <a:t> és </a:t>
            </a:r>
            <a:r>
              <a:rPr lang="en-US" sz="32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költségek</a:t>
            </a:r>
            <a:endParaRPr lang="en-US" sz="32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algn="ctr"/>
            <a:r>
              <a:rPr lang="en-US" sz="32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Minőség</a:t>
            </a:r>
            <a:endParaRPr lang="en-US" sz="32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  <a:p>
            <a:pPr algn="ctr"/>
            <a:r>
              <a:rPr lang="en-US" sz="3200" dirty="0" err="1">
                <a:solidFill>
                  <a:schemeClr val="tx2">
                    <a:lumMod val="60000"/>
                    <a:lumOff val="40000"/>
                  </a:schemeClr>
                </a:solidFill>
              </a:rPr>
              <a:t>Hatékonyság</a:t>
            </a:r>
            <a:endParaRPr lang="en-US" sz="2400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E18E21D-E554-4FAD-BBD5-CE841A13BBC6}"/>
              </a:ext>
            </a:extLst>
          </p:cNvPr>
          <p:cNvSpPr/>
          <p:nvPr/>
        </p:nvSpPr>
        <p:spPr bwMode="auto">
          <a:xfrm>
            <a:off x="4310687" y="1300943"/>
            <a:ext cx="3712308" cy="38259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dirty="0" err="1">
                <a:solidFill>
                  <a:srgbClr val="00B050"/>
                </a:solidFill>
              </a:rPr>
              <a:t>Hírnév</a:t>
            </a:r>
            <a:r>
              <a:rPr lang="en-US" sz="3200" dirty="0">
                <a:solidFill>
                  <a:srgbClr val="00B050"/>
                </a:solidFill>
              </a:rPr>
              <a:t> </a:t>
            </a:r>
          </a:p>
          <a:p>
            <a:pPr algn="ctr"/>
            <a:r>
              <a:rPr lang="en-US" sz="3200" dirty="0" err="1">
                <a:solidFill>
                  <a:srgbClr val="00B050"/>
                </a:solidFill>
              </a:rPr>
              <a:t>Szakmai</a:t>
            </a:r>
            <a:r>
              <a:rPr lang="en-US" sz="3200" dirty="0">
                <a:solidFill>
                  <a:srgbClr val="00B050"/>
                </a:solidFill>
              </a:rPr>
              <a:t> </a:t>
            </a:r>
            <a:r>
              <a:rPr lang="en-US" sz="3200" dirty="0" err="1">
                <a:solidFill>
                  <a:srgbClr val="00B050"/>
                </a:solidFill>
              </a:rPr>
              <a:t>háttér</a:t>
            </a:r>
            <a:endParaRPr lang="en-US" sz="3200" dirty="0">
              <a:solidFill>
                <a:srgbClr val="00B050"/>
              </a:solidFill>
            </a:endParaRPr>
          </a:p>
          <a:p>
            <a:pPr algn="ctr" defTabSz="1218072" fontAlgn="base">
              <a:spcBef>
                <a:spcPct val="0"/>
              </a:spcBef>
              <a:spcAft>
                <a:spcPct val="0"/>
              </a:spcAft>
            </a:pPr>
            <a:r>
              <a:rPr lang="en-US" sz="3200" dirty="0" err="1">
                <a:solidFill>
                  <a:srgbClr val="00B050"/>
                </a:solidFill>
              </a:rPr>
              <a:t>Innováció</a:t>
            </a:r>
            <a:endParaRPr lang="en-US" sz="3200" dirty="0">
              <a:solidFill>
                <a:srgbClr val="00B050"/>
              </a:solidFill>
            </a:endParaRPr>
          </a:p>
          <a:p>
            <a:pPr algn="ctr" defTabSz="1218072" fontAlgn="base">
              <a:spcBef>
                <a:spcPct val="0"/>
              </a:spcBef>
              <a:spcAft>
                <a:spcPct val="0"/>
              </a:spcAft>
            </a:pPr>
            <a:r>
              <a:rPr lang="en-US" sz="3200" dirty="0" err="1">
                <a:solidFill>
                  <a:srgbClr val="00B050"/>
                </a:solidFill>
              </a:rPr>
              <a:t>Szolgáltatás</a:t>
            </a:r>
            <a:endParaRPr lang="en-US" sz="2400" dirty="0">
              <a:solidFill>
                <a:srgbClr val="00B05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CCFF65-DD6D-4013-9102-81314DD35B42}"/>
              </a:ext>
            </a:extLst>
          </p:cNvPr>
          <p:cNvSpPr/>
          <p:nvPr/>
        </p:nvSpPr>
        <p:spPr bwMode="auto">
          <a:xfrm>
            <a:off x="8284799" y="1300943"/>
            <a:ext cx="3481402" cy="38259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131" dirty="0">
              <a:solidFill>
                <a:schemeClr val="bg1"/>
              </a:solidFill>
            </a:endParaRPr>
          </a:p>
          <a:p>
            <a:pPr algn="ctr"/>
            <a:r>
              <a:rPr lang="en-US" sz="3200" dirty="0" err="1">
                <a:solidFill>
                  <a:srgbClr val="FF0000"/>
                </a:solidFill>
              </a:rPr>
              <a:t>Fenntarthatóság</a:t>
            </a:r>
            <a:endParaRPr lang="en-US" sz="3200" dirty="0">
              <a:solidFill>
                <a:srgbClr val="FF0000"/>
              </a:solidFill>
            </a:endParaRPr>
          </a:p>
          <a:p>
            <a:pPr algn="ctr"/>
            <a:r>
              <a:rPr lang="en-US" sz="3200" dirty="0" err="1">
                <a:solidFill>
                  <a:srgbClr val="FF0000"/>
                </a:solidFill>
              </a:rPr>
              <a:t>Dokumentáció</a:t>
            </a:r>
            <a:endParaRPr lang="en-US" sz="3200" dirty="0">
              <a:solidFill>
                <a:srgbClr val="FF0000"/>
              </a:solidFill>
            </a:endParaRPr>
          </a:p>
          <a:p>
            <a:pPr algn="ctr"/>
            <a:r>
              <a:rPr lang="en-US" sz="3200" dirty="0" err="1">
                <a:solidFill>
                  <a:srgbClr val="FF0000"/>
                </a:solidFill>
              </a:rPr>
              <a:t>Felhasználás</a:t>
            </a:r>
            <a:r>
              <a:rPr lang="en-US" sz="3200" dirty="0">
                <a:solidFill>
                  <a:srgbClr val="FF0000"/>
                </a:solidFill>
              </a:rPr>
              <a:t> </a:t>
            </a:r>
            <a:r>
              <a:rPr lang="en-US" sz="3200" dirty="0" err="1">
                <a:solidFill>
                  <a:srgbClr val="FF0000"/>
                </a:solidFill>
              </a:rPr>
              <a:t>Információ</a:t>
            </a:r>
            <a:endParaRPr lang="en-US" sz="3200" dirty="0">
              <a:solidFill>
                <a:srgbClr val="FF0000"/>
              </a:solidFill>
            </a:endParaRPr>
          </a:p>
          <a:p>
            <a:pPr algn="ctr"/>
            <a:endParaRPr lang="en-US" sz="2131" dirty="0">
              <a:solidFill>
                <a:schemeClr val="bg1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Graphic 13" descr="In love face outline outline">
            <a:extLst>
              <a:ext uri="{FF2B5EF4-FFF2-40B4-BE49-F238E27FC236}">
                <a16:creationId xmlns:a16="http://schemas.microsoft.com/office/drawing/2014/main" id="{AF2CB075-B1AC-4BF0-B35B-027F865D30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47735" y="4260883"/>
            <a:ext cx="1180290" cy="1180290"/>
          </a:xfrm>
          <a:prstGeom prst="rect">
            <a:avLst/>
          </a:prstGeom>
          <a:effectLst/>
        </p:spPr>
      </p:pic>
      <p:pic>
        <p:nvPicPr>
          <p:cNvPr id="16" name="Graphic 15" descr="Winking face outline with solid fill">
            <a:extLst>
              <a:ext uri="{FF2B5EF4-FFF2-40B4-BE49-F238E27FC236}">
                <a16:creationId xmlns:a16="http://schemas.microsoft.com/office/drawing/2014/main" id="{44998431-97A4-4982-975B-EF0C8C7B255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505855" y="4260883"/>
            <a:ext cx="1180290" cy="1180290"/>
          </a:xfrm>
          <a:prstGeom prst="rect">
            <a:avLst/>
          </a:prstGeom>
          <a:effectLst/>
        </p:spPr>
      </p:pic>
      <p:pic>
        <p:nvPicPr>
          <p:cNvPr id="18" name="Graphic 17" descr="Smiling face outline outline">
            <a:extLst>
              <a:ext uri="{FF2B5EF4-FFF2-40B4-BE49-F238E27FC236}">
                <a16:creationId xmlns:a16="http://schemas.microsoft.com/office/drawing/2014/main" id="{72C21921-FD9C-4BD4-800E-45F6989D953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396920" y="4254399"/>
            <a:ext cx="1186774" cy="1186774"/>
          </a:xfrm>
          <a:prstGeom prst="rect">
            <a:avLst/>
          </a:prstGeom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E498640D-BFFE-4410-B06E-DD856BBC01B3}"/>
              </a:ext>
            </a:extLst>
          </p:cNvPr>
          <p:cNvSpPr/>
          <p:nvPr/>
        </p:nvSpPr>
        <p:spPr>
          <a:xfrm>
            <a:off x="843895" y="2168900"/>
            <a:ext cx="3079262" cy="61741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20FA964-35AA-4EB7-A1BD-0579B8D49A21}"/>
              </a:ext>
            </a:extLst>
          </p:cNvPr>
          <p:cNvSpPr/>
          <p:nvPr/>
        </p:nvSpPr>
        <p:spPr>
          <a:xfrm>
            <a:off x="8389649" y="3643467"/>
            <a:ext cx="3079262" cy="61741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8858D5FC-D7D1-42E6-B16B-562D8991BB8B}"/>
              </a:ext>
            </a:extLst>
          </p:cNvPr>
          <p:cNvSpPr/>
          <p:nvPr/>
        </p:nvSpPr>
        <p:spPr>
          <a:xfrm>
            <a:off x="4614837" y="3153471"/>
            <a:ext cx="3079262" cy="61741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CC5CDBC-A214-4C7A-8E90-FD14B809EB38}"/>
              </a:ext>
            </a:extLst>
          </p:cNvPr>
          <p:cNvSpPr/>
          <p:nvPr/>
        </p:nvSpPr>
        <p:spPr>
          <a:xfrm>
            <a:off x="843895" y="3120290"/>
            <a:ext cx="3079262" cy="61741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50A5ABE-65A2-4A70-AA7A-FB3C4FEA52FD}"/>
              </a:ext>
            </a:extLst>
          </p:cNvPr>
          <p:cNvSpPr/>
          <p:nvPr/>
        </p:nvSpPr>
        <p:spPr>
          <a:xfrm>
            <a:off x="10825018" y="0"/>
            <a:ext cx="1366982" cy="3017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78193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3" grpId="0" animBg="1"/>
      <p:bldP spid="15" grpId="0" animBg="1"/>
      <p:bldP spid="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E5D59DA7-0A4A-CB47-A519-9F8E91CA2A7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138" t="4992" r="45258" b="3617"/>
          <a:stretch/>
        </p:blipFill>
        <p:spPr>
          <a:xfrm>
            <a:off x="0" y="0"/>
            <a:ext cx="4014788" cy="6858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E125F3-8AF6-AE47-993B-C00610A5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C87F24E-5FB5-1B40-A18A-54A73A43407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5614" t="4305" r="36813" b="4305"/>
          <a:stretch/>
        </p:blipFill>
        <p:spPr>
          <a:xfrm>
            <a:off x="4014788" y="0"/>
            <a:ext cx="4014789" cy="6858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9BC1F414-2294-A64E-B70A-22EF8E42150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3239" t="11930" r="43444" b="8007"/>
          <a:stretch/>
        </p:blipFill>
        <p:spPr>
          <a:xfrm>
            <a:off x="8029577" y="-6693"/>
            <a:ext cx="4166486" cy="6864693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8E02E9C0-58D8-554D-ADDA-5C8DFDF5E4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18668" y="2869389"/>
            <a:ext cx="2013528" cy="713125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44B1287-3271-F645-9858-D2FCC22D21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403879" y="2869389"/>
            <a:ext cx="2810549" cy="1132609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6CE56AD-DFFD-8940-8FB5-051C3A14353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82957" y="2869389"/>
            <a:ext cx="2013528" cy="713125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F145678-9289-C541-A573-79D22E14983D}"/>
              </a:ext>
            </a:extLst>
          </p:cNvPr>
          <p:cNvSpPr txBox="1">
            <a:spLocks/>
          </p:cNvSpPr>
          <p:nvPr/>
        </p:nvSpPr>
        <p:spPr bwMode="white">
          <a:xfrm>
            <a:off x="382957" y="4499811"/>
            <a:ext cx="3510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Light" panose="020B0403050000020004" pitchFamily="34" charset="0"/>
                <a:ea typeface="+mn-ea"/>
                <a:cs typeface="+mn-cs"/>
              </a:rPr>
              <a:t>A kiegyensúlyozott fejlődésér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 Light" panose="020B0403050000020004" pitchFamily="34" charset="0"/>
              <a:ea typeface="+mn-ea"/>
              <a:cs typeface="+mn-cs"/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3CC9BE0D-D7CC-8940-AAE7-55190A4B0F1E}"/>
              </a:ext>
            </a:extLst>
          </p:cNvPr>
          <p:cNvSpPr txBox="1">
            <a:spLocks/>
          </p:cNvSpPr>
          <p:nvPr/>
        </p:nvSpPr>
        <p:spPr bwMode="white">
          <a:xfrm>
            <a:off x="4397745" y="4499810"/>
            <a:ext cx="3510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Light" panose="020B0403050000020004" pitchFamily="34" charset="0"/>
                <a:ea typeface="+mn-ea"/>
                <a:cs typeface="+mn-cs"/>
              </a:rPr>
              <a:t>Az előremutató megoldásokér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 Light" panose="020B0403050000020004" pitchFamily="34" charset="0"/>
              <a:ea typeface="+mn-ea"/>
              <a:cs typeface="+mn-cs"/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B3F8331-5E50-5146-BB0B-3735DFAD3504}"/>
              </a:ext>
            </a:extLst>
          </p:cNvPr>
          <p:cNvSpPr txBox="1">
            <a:spLocks/>
          </p:cNvSpPr>
          <p:nvPr/>
        </p:nvSpPr>
        <p:spPr bwMode="white">
          <a:xfrm>
            <a:off x="8533416" y="4499809"/>
            <a:ext cx="3510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hu-HU" sz="2000" dirty="0">
                <a:solidFill>
                  <a:srgbClr val="FFFFFF"/>
                </a:solidFill>
                <a:latin typeface="Fira Sans Light" panose="020B0403050000020004" pitchFamily="34" charset="0"/>
              </a:rPr>
              <a:t>A célzott információkér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 Light" panose="020B040305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4203617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E5D59DA7-0A4A-CB47-A519-9F8E91CA2A7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138" t="4992" r="45258" b="361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6CE56AD-DFFD-8940-8FB5-051C3A14353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82957" y="2869389"/>
            <a:ext cx="2013528" cy="713125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F145678-9289-C541-A573-79D22E14983D}"/>
              </a:ext>
            </a:extLst>
          </p:cNvPr>
          <p:cNvSpPr txBox="1">
            <a:spLocks/>
          </p:cNvSpPr>
          <p:nvPr/>
        </p:nvSpPr>
        <p:spPr bwMode="white">
          <a:xfrm>
            <a:off x="382957" y="4499811"/>
            <a:ext cx="3510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Light" panose="020B0403050000020004" pitchFamily="34" charset="0"/>
                <a:ea typeface="+mn-ea"/>
                <a:cs typeface="+mn-cs"/>
              </a:rPr>
              <a:t>A kiegyensúlyozott fejlődésér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 Light" panose="020B040305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473611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1C588A-74C9-4C11-8C10-9D0409C341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7281" y="381121"/>
            <a:ext cx="8629650" cy="467820"/>
          </a:xfrm>
        </p:spPr>
        <p:txBody>
          <a:bodyPr/>
          <a:lstStyle/>
          <a:p>
            <a:r>
              <a:rPr lang="en-US" dirty="0" err="1"/>
              <a:t>Alapanyag</a:t>
            </a:r>
            <a:r>
              <a:rPr lang="en-US" dirty="0"/>
              <a:t> / </a:t>
            </a:r>
            <a:r>
              <a:rPr lang="en-US" dirty="0" err="1"/>
              <a:t>takarmány</a:t>
            </a:r>
            <a:r>
              <a:rPr lang="en-US" dirty="0"/>
              <a:t> </a:t>
            </a:r>
            <a:r>
              <a:rPr lang="en-US" dirty="0" err="1"/>
              <a:t>adalék</a:t>
            </a:r>
            <a:r>
              <a:rPr lang="en-US" dirty="0"/>
              <a:t> </a:t>
            </a:r>
            <a:r>
              <a:rPr lang="en-US" dirty="0" err="1"/>
              <a:t>piac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273E33-0FC2-4EA4-81AF-2058871C0CEA}"/>
              </a:ext>
            </a:extLst>
          </p:cNvPr>
          <p:cNvSpPr txBox="1">
            <a:spLocks/>
          </p:cNvSpPr>
          <p:nvPr/>
        </p:nvSpPr>
        <p:spPr>
          <a:xfrm>
            <a:off x="526098" y="1217144"/>
            <a:ext cx="11126640" cy="4423712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indent="0">
              <a:lnSpc>
                <a:spcPts val="2000"/>
              </a:lnSpc>
              <a:buFontTx/>
              <a:buNone/>
            </a:pPr>
            <a:r>
              <a:rPr lang="en-US" sz="2000" b="1" kern="0" dirty="0"/>
              <a:t>GAZDASÁGI, PIACI ALAPOK - </a:t>
            </a:r>
            <a:r>
              <a:rPr lang="en-US" sz="2000" b="1" kern="0" dirty="0" err="1"/>
              <a:t>Visszaeső</a:t>
            </a:r>
            <a:r>
              <a:rPr lang="en-US" sz="2000" b="1" kern="0" dirty="0"/>
              <a:t> </a:t>
            </a:r>
            <a:r>
              <a:rPr lang="en-US" sz="2000" b="1" kern="0" dirty="0" err="1"/>
              <a:t>kereslet</a:t>
            </a:r>
            <a:r>
              <a:rPr lang="en-US" sz="2000" b="1" kern="0" dirty="0"/>
              <a:t>, </a:t>
            </a:r>
            <a:r>
              <a:rPr lang="en-US" sz="2000" b="1" kern="0" dirty="0" err="1"/>
              <a:t>alacsony</a:t>
            </a:r>
            <a:r>
              <a:rPr lang="en-US" sz="2000" b="1" kern="0" dirty="0"/>
              <a:t> </a:t>
            </a:r>
            <a:r>
              <a:rPr lang="en-US" sz="2000" b="1" kern="0" dirty="0" err="1"/>
              <a:t>árak</a:t>
            </a:r>
            <a:r>
              <a:rPr lang="en-US" sz="2000" b="1" kern="0" dirty="0"/>
              <a:t> (minimum)</a:t>
            </a:r>
            <a:endParaRPr lang="en-GB" sz="2000" b="1" kern="0" dirty="0"/>
          </a:p>
          <a:p>
            <a:pPr marL="216000" indent="-216000">
              <a:lnSpc>
                <a:spcPct val="150000"/>
              </a:lnSpc>
            </a:pPr>
            <a:r>
              <a:rPr lang="en-GB" kern="0" dirty="0" err="1"/>
              <a:t>Húsfogyasztás</a:t>
            </a:r>
            <a:r>
              <a:rPr lang="en-GB" kern="0" dirty="0"/>
              <a:t> </a:t>
            </a:r>
            <a:r>
              <a:rPr lang="en-GB" kern="0" dirty="0" err="1"/>
              <a:t>globálisan</a:t>
            </a:r>
            <a:r>
              <a:rPr lang="en-GB" kern="0" dirty="0"/>
              <a:t> </a:t>
            </a:r>
            <a:r>
              <a:rPr lang="en-GB" kern="0" dirty="0" err="1"/>
              <a:t>nő</a:t>
            </a:r>
            <a:r>
              <a:rPr lang="en-GB" kern="0" dirty="0"/>
              <a:t> </a:t>
            </a:r>
          </a:p>
          <a:p>
            <a:pPr marL="216000" indent="-216000">
              <a:lnSpc>
                <a:spcPct val="150000"/>
              </a:lnSpc>
            </a:pPr>
            <a:r>
              <a:rPr lang="en-GB" kern="0" dirty="0"/>
              <a:t>A </a:t>
            </a:r>
            <a:r>
              <a:rPr lang="en-GB" kern="0" dirty="0" err="1"/>
              <a:t>termelők</a:t>
            </a:r>
            <a:r>
              <a:rPr lang="en-GB" kern="0" dirty="0"/>
              <a:t>, </a:t>
            </a:r>
            <a:r>
              <a:rPr lang="en-GB" kern="0" dirty="0" err="1"/>
              <a:t>gyártók</a:t>
            </a:r>
            <a:r>
              <a:rPr lang="en-GB" kern="0" dirty="0"/>
              <a:t> </a:t>
            </a:r>
            <a:r>
              <a:rPr lang="en-GB" kern="0" dirty="0" err="1"/>
              <a:t>összetett</a:t>
            </a:r>
            <a:r>
              <a:rPr lang="en-GB" kern="0" dirty="0"/>
              <a:t> </a:t>
            </a:r>
            <a:r>
              <a:rPr lang="en-GB" kern="0" dirty="0" err="1"/>
              <a:t>problémákkal</a:t>
            </a:r>
            <a:r>
              <a:rPr lang="en-GB" kern="0" dirty="0"/>
              <a:t> </a:t>
            </a:r>
            <a:r>
              <a:rPr lang="en-GB" kern="0" dirty="0" err="1"/>
              <a:t>küzdenek</a:t>
            </a:r>
            <a:r>
              <a:rPr lang="en-GB" kern="0" dirty="0"/>
              <a:t> (COVID, ASF, ABF, </a:t>
            </a:r>
            <a:r>
              <a:rPr lang="en-GB" kern="0" dirty="0" err="1"/>
              <a:t>árak</a:t>
            </a:r>
            <a:r>
              <a:rPr lang="en-GB" kern="0" dirty="0"/>
              <a:t>, </a:t>
            </a:r>
            <a:r>
              <a:rPr lang="en-GB" kern="0" dirty="0" err="1"/>
              <a:t>készletek</a:t>
            </a:r>
            <a:r>
              <a:rPr lang="en-GB" kern="0" dirty="0"/>
              <a:t>, </a:t>
            </a:r>
            <a:r>
              <a:rPr lang="en-GB" kern="0" dirty="0" err="1"/>
              <a:t>aszály</a:t>
            </a:r>
            <a:r>
              <a:rPr lang="en-GB" kern="0" dirty="0"/>
              <a:t>)</a:t>
            </a:r>
          </a:p>
          <a:p>
            <a:pPr marL="216000" indent="-216000">
              <a:lnSpc>
                <a:spcPct val="150000"/>
              </a:lnSpc>
            </a:pPr>
            <a:r>
              <a:rPr lang="en-GB" kern="0" dirty="0"/>
              <a:t>5-15%-</a:t>
            </a:r>
            <a:r>
              <a:rPr lang="en-GB" kern="0" dirty="0" err="1"/>
              <a:t>os</a:t>
            </a:r>
            <a:r>
              <a:rPr lang="en-GB" kern="0" dirty="0"/>
              <a:t> </a:t>
            </a:r>
            <a:r>
              <a:rPr lang="en-GB" kern="0" dirty="0" err="1"/>
              <a:t>kereslet</a:t>
            </a:r>
            <a:r>
              <a:rPr lang="en-GB" kern="0" dirty="0"/>
              <a:t> </a:t>
            </a:r>
            <a:r>
              <a:rPr lang="en-GB" kern="0" dirty="0" err="1"/>
              <a:t>csökkenés</a:t>
            </a:r>
            <a:r>
              <a:rPr lang="en-GB" kern="0" dirty="0"/>
              <a:t>, </a:t>
            </a:r>
            <a:r>
              <a:rPr lang="en-GB" kern="0" dirty="0" err="1"/>
              <a:t>takarékosság</a:t>
            </a:r>
            <a:endParaRPr lang="en-GB" kern="0" dirty="0"/>
          </a:p>
          <a:p>
            <a:pPr marL="216000" indent="-216000">
              <a:lnSpc>
                <a:spcPct val="150000"/>
              </a:lnSpc>
            </a:pPr>
            <a:r>
              <a:rPr lang="en-GB" kern="0" dirty="0"/>
              <a:t>Magas </a:t>
            </a:r>
            <a:r>
              <a:rPr lang="en-GB" kern="0" dirty="0" err="1"/>
              <a:t>készletállomány</a:t>
            </a:r>
            <a:r>
              <a:rPr lang="en-GB" kern="0" dirty="0"/>
              <a:t>, </a:t>
            </a:r>
            <a:r>
              <a:rPr lang="en-GB" kern="0" dirty="0" err="1"/>
              <a:t>csökkenő</a:t>
            </a:r>
            <a:r>
              <a:rPr lang="en-GB" kern="0" dirty="0"/>
              <a:t> </a:t>
            </a:r>
            <a:r>
              <a:rPr lang="en-GB" kern="0" dirty="0" err="1"/>
              <a:t>árak</a:t>
            </a:r>
            <a:r>
              <a:rPr lang="en-GB" kern="0" dirty="0"/>
              <a:t>, </a:t>
            </a:r>
            <a:r>
              <a:rPr lang="en-GB" kern="0" dirty="0" err="1"/>
              <a:t>emelkedő</a:t>
            </a:r>
            <a:r>
              <a:rPr lang="en-GB" kern="0" dirty="0"/>
              <a:t> </a:t>
            </a:r>
            <a:r>
              <a:rPr lang="en-GB" kern="0" dirty="0" err="1"/>
              <a:t>termelési</a:t>
            </a:r>
            <a:r>
              <a:rPr lang="en-GB" kern="0" dirty="0"/>
              <a:t> </a:t>
            </a:r>
            <a:r>
              <a:rPr lang="en-GB" kern="0" dirty="0" err="1"/>
              <a:t>költségek</a:t>
            </a:r>
            <a:r>
              <a:rPr lang="en-GB" kern="0" dirty="0"/>
              <a:t> </a:t>
            </a:r>
          </a:p>
          <a:p>
            <a:pPr marL="216000" indent="-216000">
              <a:lnSpc>
                <a:spcPct val="150000"/>
              </a:lnSpc>
            </a:pPr>
            <a:r>
              <a:rPr lang="en-US" kern="0" dirty="0" err="1"/>
              <a:t>Gyártók</a:t>
            </a:r>
            <a:r>
              <a:rPr lang="en-US" kern="0" dirty="0"/>
              <a:t> </a:t>
            </a:r>
            <a:r>
              <a:rPr lang="en-US" kern="0" dirty="0" err="1"/>
              <a:t>igen</a:t>
            </a:r>
            <a:r>
              <a:rPr lang="en-US" kern="0" dirty="0"/>
              <a:t> </a:t>
            </a:r>
            <a:r>
              <a:rPr lang="en-US" kern="0" dirty="0" err="1"/>
              <a:t>nehéz</a:t>
            </a:r>
            <a:r>
              <a:rPr lang="en-US" kern="0" dirty="0"/>
              <a:t> </a:t>
            </a:r>
            <a:r>
              <a:rPr lang="en-US" kern="0" dirty="0" err="1"/>
              <a:t>helyzetben</a:t>
            </a:r>
            <a:r>
              <a:rPr lang="en-US" kern="0" dirty="0"/>
              <a:t> </a:t>
            </a:r>
            <a:r>
              <a:rPr lang="en-US" kern="0" dirty="0" err="1"/>
              <a:t>vannak</a:t>
            </a:r>
            <a:r>
              <a:rPr lang="en-US" kern="0" dirty="0"/>
              <a:t> – </a:t>
            </a:r>
            <a:r>
              <a:rPr lang="en-US" kern="0" dirty="0" err="1"/>
              <a:t>konszolidáció</a:t>
            </a:r>
            <a:r>
              <a:rPr lang="en-US" kern="0" dirty="0"/>
              <a:t> (</a:t>
            </a:r>
            <a:r>
              <a:rPr lang="en-US" kern="0" dirty="0" err="1"/>
              <a:t>kereslet-kinálat</a:t>
            </a:r>
            <a:r>
              <a:rPr lang="en-US" kern="0" dirty="0"/>
              <a:t>)</a:t>
            </a:r>
          </a:p>
          <a:p>
            <a:pPr marL="216000" indent="-216000">
              <a:lnSpc>
                <a:spcPct val="150000"/>
              </a:lnSpc>
            </a:pPr>
            <a:r>
              <a:rPr lang="en-GB" kern="0" dirty="0" err="1"/>
              <a:t>Költségek</a:t>
            </a:r>
            <a:r>
              <a:rPr lang="en-GB" kern="0" dirty="0"/>
              <a:t>, </a:t>
            </a:r>
            <a:r>
              <a:rPr lang="en-GB" kern="0" dirty="0" err="1"/>
              <a:t>infláció</a:t>
            </a:r>
            <a:r>
              <a:rPr lang="en-GB" kern="0" dirty="0"/>
              <a:t>, </a:t>
            </a:r>
            <a:r>
              <a:rPr lang="en-GB" kern="0" dirty="0" err="1"/>
              <a:t>energia</a:t>
            </a:r>
            <a:r>
              <a:rPr lang="en-GB" kern="0" dirty="0"/>
              <a:t>, </a:t>
            </a:r>
            <a:r>
              <a:rPr lang="en-GB" kern="0" dirty="0" err="1"/>
              <a:t>munkaerő</a:t>
            </a:r>
            <a:r>
              <a:rPr lang="en-GB" kern="0" dirty="0"/>
              <a:t> </a:t>
            </a:r>
            <a:r>
              <a:rPr lang="en-GB" kern="0" dirty="0" err="1"/>
              <a:t>felfele</a:t>
            </a:r>
            <a:r>
              <a:rPr lang="en-GB" kern="0" dirty="0"/>
              <a:t> </a:t>
            </a:r>
            <a:r>
              <a:rPr lang="en-GB" kern="0" dirty="0" err="1"/>
              <a:t>hajtaná</a:t>
            </a:r>
            <a:r>
              <a:rPr lang="en-GB" kern="0" dirty="0"/>
              <a:t> </a:t>
            </a:r>
            <a:r>
              <a:rPr lang="en-GB" kern="0" dirty="0" err="1"/>
              <a:t>az</a:t>
            </a:r>
            <a:r>
              <a:rPr lang="en-GB" kern="0" dirty="0"/>
              <a:t> </a:t>
            </a:r>
            <a:r>
              <a:rPr lang="en-GB" kern="0" dirty="0" err="1"/>
              <a:t>árakat</a:t>
            </a:r>
            <a:endParaRPr lang="en-GB" kern="0" dirty="0"/>
          </a:p>
          <a:p>
            <a:pPr marL="0" indent="0">
              <a:lnSpc>
                <a:spcPts val="2000"/>
              </a:lnSpc>
              <a:buFontTx/>
              <a:buNone/>
            </a:pPr>
            <a:endParaRPr lang="en-US" sz="1600" b="1" kern="0" dirty="0"/>
          </a:p>
          <a:p>
            <a:pPr marL="0" indent="0">
              <a:lnSpc>
                <a:spcPts val="2000"/>
              </a:lnSpc>
              <a:buFontTx/>
              <a:buNone/>
            </a:pPr>
            <a:r>
              <a:rPr lang="en-US" sz="2000" b="1" kern="0" dirty="0"/>
              <a:t>SZAKMAI ALAPOK – </a:t>
            </a:r>
            <a:r>
              <a:rPr lang="en-US" sz="2000" b="1" kern="0" dirty="0" err="1"/>
              <a:t>Hatékonyság</a:t>
            </a:r>
            <a:r>
              <a:rPr lang="en-US" sz="2000" b="1" kern="0" dirty="0"/>
              <a:t> </a:t>
            </a:r>
            <a:r>
              <a:rPr lang="en-US" sz="2000" b="1" kern="0" dirty="0" err="1"/>
              <a:t>növelés</a:t>
            </a:r>
            <a:r>
              <a:rPr lang="en-US" sz="2000" b="1" kern="0" dirty="0"/>
              <a:t>, </a:t>
            </a:r>
            <a:r>
              <a:rPr lang="en-US" sz="2000" b="1" kern="0" dirty="0" err="1"/>
              <a:t>új</a:t>
            </a:r>
            <a:r>
              <a:rPr lang="en-US" sz="2000" b="1" kern="0" dirty="0"/>
              <a:t> </a:t>
            </a:r>
            <a:r>
              <a:rPr lang="en-US" sz="2000" b="1" kern="0" dirty="0" err="1"/>
              <a:t>fogyasztói</a:t>
            </a:r>
            <a:r>
              <a:rPr lang="en-US" sz="2000" b="1" kern="0" dirty="0"/>
              <a:t> </a:t>
            </a:r>
            <a:r>
              <a:rPr lang="en-US" sz="2000" b="1" kern="0" dirty="0" err="1"/>
              <a:t>igények</a:t>
            </a:r>
            <a:r>
              <a:rPr lang="en-US" sz="2000" b="1" kern="0" dirty="0"/>
              <a:t> és </a:t>
            </a:r>
            <a:r>
              <a:rPr lang="en-US" sz="2000" b="1" kern="0" dirty="0" err="1"/>
              <a:t>trendek</a:t>
            </a:r>
            <a:endParaRPr lang="en-GB" sz="2000" b="1" kern="0" dirty="0"/>
          </a:p>
          <a:p>
            <a:pPr marL="216000" indent="-216000">
              <a:lnSpc>
                <a:spcPct val="150000"/>
              </a:lnSpc>
            </a:pPr>
            <a:r>
              <a:rPr lang="en-GB" kern="0" dirty="0" err="1"/>
              <a:t>Preciziós</a:t>
            </a:r>
            <a:r>
              <a:rPr lang="en-GB" kern="0" dirty="0"/>
              <a:t> </a:t>
            </a:r>
            <a:r>
              <a:rPr lang="en-GB" kern="0" dirty="0" err="1"/>
              <a:t>takarmányozás</a:t>
            </a:r>
            <a:r>
              <a:rPr lang="en-GB" kern="0" dirty="0"/>
              <a:t>, </a:t>
            </a:r>
            <a:r>
              <a:rPr lang="en-GB" kern="0" dirty="0" err="1"/>
              <a:t>az</a:t>
            </a:r>
            <a:r>
              <a:rPr lang="en-GB" kern="0" dirty="0"/>
              <a:t> </a:t>
            </a:r>
            <a:r>
              <a:rPr lang="en-GB" kern="0" dirty="0" err="1"/>
              <a:t>állat</a:t>
            </a:r>
            <a:r>
              <a:rPr lang="en-GB" kern="0" dirty="0"/>
              <a:t> </a:t>
            </a:r>
            <a:r>
              <a:rPr lang="en-GB" kern="0" dirty="0" err="1"/>
              <a:t>igényeinek</a:t>
            </a:r>
            <a:r>
              <a:rPr lang="en-GB" kern="0" dirty="0"/>
              <a:t> </a:t>
            </a:r>
            <a:r>
              <a:rPr lang="en-GB" kern="0" dirty="0" err="1"/>
              <a:t>pontosabb</a:t>
            </a:r>
            <a:r>
              <a:rPr lang="en-GB" kern="0" dirty="0"/>
              <a:t> </a:t>
            </a:r>
            <a:r>
              <a:rPr lang="en-GB" kern="0" dirty="0" err="1"/>
              <a:t>kielégitése</a:t>
            </a:r>
            <a:endParaRPr lang="en-GB" kern="0" dirty="0"/>
          </a:p>
          <a:p>
            <a:pPr marL="216000" indent="-216000">
              <a:lnSpc>
                <a:spcPct val="150000"/>
              </a:lnSpc>
            </a:pPr>
            <a:r>
              <a:rPr lang="en-GB" kern="0" dirty="0" err="1"/>
              <a:t>Előirások</a:t>
            </a:r>
            <a:r>
              <a:rPr lang="en-GB" kern="0" dirty="0"/>
              <a:t>, </a:t>
            </a:r>
            <a:r>
              <a:rPr lang="en-GB" kern="0" dirty="0" err="1"/>
              <a:t>korlátozások</a:t>
            </a:r>
            <a:r>
              <a:rPr lang="en-GB" kern="0" dirty="0"/>
              <a:t> (</a:t>
            </a:r>
            <a:r>
              <a:rPr lang="en-GB" kern="0" dirty="0" err="1"/>
              <a:t>antibiotikum</a:t>
            </a:r>
            <a:r>
              <a:rPr lang="en-GB" kern="0" dirty="0"/>
              <a:t> </a:t>
            </a:r>
            <a:r>
              <a:rPr lang="en-GB" kern="0" dirty="0" err="1"/>
              <a:t>használat</a:t>
            </a:r>
            <a:r>
              <a:rPr lang="en-GB" kern="0" dirty="0"/>
              <a:t>, </a:t>
            </a:r>
            <a:r>
              <a:rPr lang="en-GB" kern="0" dirty="0" err="1"/>
              <a:t>ZnO</a:t>
            </a:r>
            <a:r>
              <a:rPr lang="en-GB" kern="0" dirty="0"/>
              <a:t>)</a:t>
            </a:r>
          </a:p>
          <a:p>
            <a:pPr marL="216000" indent="-216000">
              <a:lnSpc>
                <a:spcPct val="150000"/>
              </a:lnSpc>
            </a:pPr>
            <a:r>
              <a:rPr lang="en-GB" kern="0" dirty="0" err="1"/>
              <a:t>Fenntarthatóság</a:t>
            </a:r>
            <a:r>
              <a:rPr lang="en-GB" kern="0" dirty="0"/>
              <a:t>, </a:t>
            </a:r>
            <a:r>
              <a:rPr lang="en-GB" kern="0" dirty="0" err="1"/>
              <a:t>emisszió</a:t>
            </a:r>
            <a:r>
              <a:rPr lang="en-GB" kern="0" dirty="0"/>
              <a:t> </a:t>
            </a:r>
            <a:r>
              <a:rPr lang="en-GB" kern="0" dirty="0" err="1"/>
              <a:t>csökkentés</a:t>
            </a:r>
            <a:r>
              <a:rPr lang="en-GB" kern="0" dirty="0"/>
              <a:t>, </a:t>
            </a:r>
            <a:r>
              <a:rPr lang="en-GB" kern="0" dirty="0" err="1"/>
              <a:t>karbon</a:t>
            </a:r>
            <a:r>
              <a:rPr lang="en-GB" kern="0" dirty="0"/>
              <a:t> </a:t>
            </a:r>
            <a:r>
              <a:rPr lang="en-GB" kern="0" dirty="0" err="1"/>
              <a:t>lábnyom</a:t>
            </a:r>
            <a:r>
              <a:rPr lang="en-GB" kern="0" dirty="0"/>
              <a:t> </a:t>
            </a:r>
            <a:r>
              <a:rPr lang="en-GB" kern="0" dirty="0" err="1"/>
              <a:t>kalkuláció</a:t>
            </a:r>
            <a:endParaRPr lang="en-GB" kern="0" dirty="0"/>
          </a:p>
          <a:p>
            <a:pPr marL="216000" indent="-216000">
              <a:lnSpc>
                <a:spcPct val="150000"/>
              </a:lnSpc>
            </a:pPr>
            <a:r>
              <a:rPr lang="en-GB" kern="0" dirty="0" err="1"/>
              <a:t>Állatjólét</a:t>
            </a:r>
            <a:r>
              <a:rPr lang="en-GB" kern="0" dirty="0"/>
              <a:t>, </a:t>
            </a:r>
            <a:r>
              <a:rPr lang="en-GB" kern="0" dirty="0" err="1"/>
              <a:t>egészséges</a:t>
            </a:r>
            <a:r>
              <a:rPr lang="en-GB" kern="0" dirty="0"/>
              <a:t> </a:t>
            </a:r>
            <a:r>
              <a:rPr lang="en-GB" kern="0" dirty="0" err="1"/>
              <a:t>élelmiszer</a:t>
            </a:r>
            <a:endParaRPr lang="en-GB" kern="0" dirty="0"/>
          </a:p>
          <a:p>
            <a:pPr marL="216000" indent="-216000">
              <a:lnSpc>
                <a:spcPts val="2000"/>
              </a:lnSpc>
            </a:pPr>
            <a:endParaRPr lang="en-GB" sz="1600" kern="0" dirty="0"/>
          </a:p>
          <a:p>
            <a:pPr marL="0" indent="0">
              <a:lnSpc>
                <a:spcPts val="2000"/>
              </a:lnSpc>
              <a:buFontTx/>
              <a:buNone/>
            </a:pPr>
            <a:endParaRPr lang="en-US" sz="1400" b="1" kern="0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584345F-C7DD-4F02-A1B3-66E9944369EE}"/>
              </a:ext>
            </a:extLst>
          </p:cNvPr>
          <p:cNvSpPr/>
          <p:nvPr/>
        </p:nvSpPr>
        <p:spPr>
          <a:xfrm>
            <a:off x="10825018" y="0"/>
            <a:ext cx="1366982" cy="3017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F6B4CD3-CDCA-4C49-AD51-B57F09127948}"/>
              </a:ext>
            </a:extLst>
          </p:cNvPr>
          <p:cNvSpPr/>
          <p:nvPr/>
        </p:nvSpPr>
        <p:spPr>
          <a:xfrm>
            <a:off x="133827" y="6440695"/>
            <a:ext cx="1366982" cy="3017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0050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F14FCF-3F11-4880-8C2A-D6323CD47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915" y="410927"/>
            <a:ext cx="8197850" cy="467820"/>
          </a:xfrm>
        </p:spPr>
        <p:txBody>
          <a:bodyPr/>
          <a:lstStyle/>
          <a:p>
            <a:r>
              <a:rPr lang="en-US" dirty="0" err="1"/>
              <a:t>Vitaminok</a:t>
            </a:r>
            <a:endParaRPr lang="en-US" dirty="0"/>
          </a:p>
        </p:txBody>
      </p:sp>
      <p:graphicFrame>
        <p:nvGraphicFramePr>
          <p:cNvPr id="6" name="Chart 18">
            <a:extLst>
              <a:ext uri="{FF2B5EF4-FFF2-40B4-BE49-F238E27FC236}">
                <a16:creationId xmlns:a16="http://schemas.microsoft.com/office/drawing/2014/main" id="{894A5AEA-34FC-4346-B7FE-EFAA6CF15A8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1908659"/>
              </p:ext>
            </p:extLst>
          </p:nvPr>
        </p:nvGraphicFramePr>
        <p:xfrm>
          <a:off x="7249768" y="3057532"/>
          <a:ext cx="4640228" cy="22446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17">
            <a:extLst>
              <a:ext uri="{FF2B5EF4-FFF2-40B4-BE49-F238E27FC236}">
                <a16:creationId xmlns:a16="http://schemas.microsoft.com/office/drawing/2014/main" id="{ED64B3C7-76FA-4078-AB2A-D66B17B1C20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63896102"/>
              </p:ext>
            </p:extLst>
          </p:nvPr>
        </p:nvGraphicFramePr>
        <p:xfrm>
          <a:off x="528915" y="2650013"/>
          <a:ext cx="5758667" cy="41222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Oval 11">
            <a:extLst>
              <a:ext uri="{FF2B5EF4-FFF2-40B4-BE49-F238E27FC236}">
                <a16:creationId xmlns:a16="http://schemas.microsoft.com/office/drawing/2014/main" id="{FE95DF9A-C242-45B8-824A-27CF03CB1BC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103383" y="5846424"/>
            <a:ext cx="2113736" cy="638448"/>
          </a:xfrm>
          <a:prstGeom prst="ellipse">
            <a:avLst/>
          </a:prstGeom>
          <a:solidFill>
            <a:srgbClr val="83D0F5">
              <a:alpha val="0"/>
            </a:srgbClr>
          </a:solidFill>
          <a:ln w="19050" algn="ctr">
            <a:solidFill>
              <a:srgbClr val="FF9900"/>
            </a:solidFill>
            <a:prstDash val="sysDash"/>
            <a:round/>
            <a:headEnd/>
            <a:tailEnd/>
          </a:ln>
        </p:spPr>
        <p:txBody>
          <a:bodyPr wrap="square" lIns="0" tIns="0" rIns="0" bIns="0">
            <a:spAutoFit/>
          </a:bodyPr>
          <a:lstStyle>
            <a:lvl1pPr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endParaRPr lang="es-ES" altLang="es-E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D4BF4CB7-319C-47B8-9896-FDBBA6AF599F}"/>
              </a:ext>
            </a:extLst>
          </p:cNvPr>
          <p:cNvSpPr>
            <a:spLocks noChangeArrowheads="1"/>
          </p:cNvSpPr>
          <p:nvPr/>
        </p:nvSpPr>
        <p:spPr bwMode="auto">
          <a:xfrm rot="16200000">
            <a:off x="10023727" y="3561018"/>
            <a:ext cx="1954181" cy="1777097"/>
          </a:xfrm>
          <a:prstGeom prst="ellipse">
            <a:avLst/>
          </a:prstGeom>
          <a:noFill/>
          <a:ln w="19050" algn="ctr">
            <a:solidFill>
              <a:srgbClr val="FF9900"/>
            </a:solidFill>
            <a:prstDash val="sysDash"/>
            <a:round/>
            <a:headEnd/>
            <a:tailEnd/>
          </a:ln>
        </p:spPr>
        <p:txBody>
          <a:bodyPr wrap="square" lIns="0" tIns="0" rIns="0" bIns="0">
            <a:spAutoFit/>
          </a:bodyPr>
          <a:lstStyle>
            <a:lvl1pPr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endParaRPr lang="es-ES" altLang="es-ES"/>
          </a:p>
        </p:txBody>
      </p:sp>
      <p:sp>
        <p:nvSpPr>
          <p:cNvPr id="23" name="Oval 11">
            <a:extLst>
              <a:ext uri="{FF2B5EF4-FFF2-40B4-BE49-F238E27FC236}">
                <a16:creationId xmlns:a16="http://schemas.microsoft.com/office/drawing/2014/main" id="{F1E704D6-4E47-46F0-9AF0-53B1DC511E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7183" y="3057532"/>
            <a:ext cx="5989281" cy="2203654"/>
          </a:xfrm>
          <a:prstGeom prst="ellipse">
            <a:avLst/>
          </a:prstGeom>
          <a:solidFill>
            <a:srgbClr val="FF0000">
              <a:alpha val="0"/>
            </a:srgbClr>
          </a:solidFill>
          <a:ln w="19050" algn="ctr">
            <a:solidFill>
              <a:srgbClr val="FF0000"/>
            </a:solidFill>
            <a:prstDash val="sysDash"/>
            <a:round/>
            <a:headEnd/>
            <a:tailEnd/>
          </a:ln>
        </p:spPr>
        <p:txBody>
          <a:bodyPr wrap="square" lIns="0" tIns="0" rIns="0" bIns="0">
            <a:spAutoFit/>
          </a:bodyPr>
          <a:lstStyle>
            <a:lvl1pPr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buFontTx/>
              <a:buNone/>
            </a:pPr>
            <a:endParaRPr lang="es-ES" altLang="es-ES" dirty="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D6891A8-AFEA-4289-9153-33B3384DF13B}"/>
              </a:ext>
            </a:extLst>
          </p:cNvPr>
          <p:cNvSpPr/>
          <p:nvPr/>
        </p:nvSpPr>
        <p:spPr>
          <a:xfrm>
            <a:off x="1847753" y="3570511"/>
            <a:ext cx="313900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es-ES" sz="2400" b="1" dirty="0" err="1">
                <a:solidFill>
                  <a:srgbClr val="FF0000"/>
                </a:solidFill>
                <a:ea typeface="Arial" panose="020B0604020202020204" pitchFamily="34" charset="0"/>
              </a:rPr>
              <a:t>Alapanyag</a:t>
            </a:r>
            <a:r>
              <a:rPr lang="en-US" altLang="es-ES" sz="2400" b="1" dirty="0">
                <a:solidFill>
                  <a:srgbClr val="FF0000"/>
                </a:solidFill>
                <a:ea typeface="Arial" panose="020B0604020202020204" pitchFamily="34" charset="0"/>
              </a:rPr>
              <a:t> </a:t>
            </a:r>
            <a:r>
              <a:rPr lang="en-US" altLang="es-ES" sz="2400" b="1" dirty="0" err="1">
                <a:solidFill>
                  <a:srgbClr val="FF0000"/>
                </a:solidFill>
                <a:ea typeface="Arial" panose="020B0604020202020204" pitchFamily="34" charset="0"/>
              </a:rPr>
              <a:t>volatilitás</a:t>
            </a:r>
            <a:endParaRPr lang="es-ES" sz="2400" dirty="0">
              <a:solidFill>
                <a:srgbClr val="FF0000"/>
              </a:solidFill>
            </a:endParaRPr>
          </a:p>
        </p:txBody>
      </p:sp>
      <p:sp>
        <p:nvSpPr>
          <p:cNvPr id="25" name="Arrow: Bent 24">
            <a:extLst>
              <a:ext uri="{FF2B5EF4-FFF2-40B4-BE49-F238E27FC236}">
                <a16:creationId xmlns:a16="http://schemas.microsoft.com/office/drawing/2014/main" id="{81AD0F90-62CE-4DDA-AF63-071392B3DD3D}"/>
              </a:ext>
            </a:extLst>
          </p:cNvPr>
          <p:cNvSpPr/>
          <p:nvPr/>
        </p:nvSpPr>
        <p:spPr bwMode="auto">
          <a:xfrm rot="5400000" flipH="1">
            <a:off x="6704000" y="4968055"/>
            <a:ext cx="1091535" cy="1398681"/>
          </a:xfrm>
          <a:prstGeom prst="bentArrow">
            <a:avLst>
              <a:gd name="adj1" fmla="val 25000"/>
              <a:gd name="adj2" fmla="val 28333"/>
              <a:gd name="adj3" fmla="val 25000"/>
              <a:gd name="adj4" fmla="val 43750"/>
            </a:avLst>
          </a:prstGeom>
          <a:solidFill>
            <a:srgbClr val="FF99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s-ES">
              <a:latin typeface="Trebuchet MS" pitchFamily="34" charset="0"/>
              <a:cs typeface="Arial" charset="0"/>
            </a:endParaRPr>
          </a:p>
        </p:txBody>
      </p:sp>
      <p:sp>
        <p:nvSpPr>
          <p:cNvPr id="12" name="TextBox 6">
            <a:extLst>
              <a:ext uri="{FF2B5EF4-FFF2-40B4-BE49-F238E27FC236}">
                <a16:creationId xmlns:a16="http://schemas.microsoft.com/office/drawing/2014/main" id="{FEE0E20C-3353-4A89-B28D-B0A5A02E311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7184" y="6620472"/>
            <a:ext cx="6569427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ea typeface="MS PGothic" panose="020B0600070205080204" pitchFamily="34" charset="-128"/>
                <a:cs typeface="Arial" panose="020B0604020202020204" pitchFamily="34" charset="0"/>
              </a:defRPr>
            </a:lvl1pPr>
            <a:lvl2pPr marL="742950" indent="-28575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Char char="•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har char="–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Trebuchet MS" panose="020B0603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buFontTx/>
              <a:buNone/>
            </a:pPr>
            <a:r>
              <a:rPr lang="es-ES_tradnl" altLang="es-ES" sz="800" i="1" dirty="0"/>
              <a:t>*</a:t>
            </a:r>
            <a:r>
              <a:rPr lang="es-ES_tradnl" altLang="es-ES" sz="800" i="1" dirty="0" err="1"/>
              <a:t>Approx</a:t>
            </a:r>
            <a:r>
              <a:rPr lang="es-ES_tradnl" altLang="es-ES" sz="800" i="1" dirty="0"/>
              <a:t> </a:t>
            </a:r>
            <a:r>
              <a:rPr lang="es-ES_tradnl" altLang="es-ES" sz="800" i="1" dirty="0" err="1"/>
              <a:t>cost</a:t>
            </a:r>
            <a:r>
              <a:rPr lang="es-ES_tradnl" altLang="es-ES" sz="800" i="1" dirty="0"/>
              <a:t> </a:t>
            </a:r>
            <a:r>
              <a:rPr lang="es-ES_tradnl" altLang="es-ES" sz="800" i="1" dirty="0" err="1"/>
              <a:t>of</a:t>
            </a:r>
            <a:r>
              <a:rPr lang="es-ES_tradnl" altLang="es-ES" sz="800" i="1" dirty="0"/>
              <a:t> </a:t>
            </a:r>
            <a:r>
              <a:rPr lang="es-ES_tradnl" altLang="es-ES" sz="800" i="1" dirty="0" err="1"/>
              <a:t>average</a:t>
            </a:r>
            <a:r>
              <a:rPr lang="es-ES_tradnl" altLang="es-ES" sz="800" i="1" dirty="0"/>
              <a:t> </a:t>
            </a:r>
            <a:r>
              <a:rPr lang="es-ES_tradnl" altLang="es-ES" sz="800" i="1" dirty="0" err="1"/>
              <a:t>vitamin</a:t>
            </a:r>
            <a:r>
              <a:rPr lang="es-ES_tradnl" altLang="es-ES" sz="800" i="1" dirty="0"/>
              <a:t> </a:t>
            </a:r>
            <a:r>
              <a:rPr lang="es-ES_tradnl" altLang="es-ES" sz="800" i="1" dirty="0" err="1"/>
              <a:t>levels</a:t>
            </a:r>
            <a:r>
              <a:rPr lang="es-ES_tradnl" altLang="es-ES" sz="800" i="1" dirty="0"/>
              <a:t> in </a:t>
            </a:r>
            <a:r>
              <a:rPr lang="es-ES_tradnl" altLang="es-ES" sz="800" i="1" dirty="0" err="1"/>
              <a:t>broiler</a:t>
            </a:r>
            <a:r>
              <a:rPr lang="es-ES_tradnl" altLang="es-ES" sz="800" i="1" dirty="0"/>
              <a:t> feed in Latam, March 2022; </a:t>
            </a:r>
            <a:r>
              <a:rPr lang="es-ES_tradnl" altLang="es-ES" sz="800" i="1" dirty="0" err="1"/>
              <a:t>most</a:t>
            </a:r>
            <a:r>
              <a:rPr lang="es-ES_tradnl" altLang="es-ES" sz="800" i="1" dirty="0"/>
              <a:t> </a:t>
            </a:r>
            <a:r>
              <a:rPr lang="es-ES_tradnl" altLang="es-ES" sz="800" i="1" dirty="0" err="1"/>
              <a:t>of</a:t>
            </a:r>
            <a:r>
              <a:rPr lang="es-ES_tradnl" altLang="es-ES" sz="800" i="1" dirty="0"/>
              <a:t> feed </a:t>
            </a:r>
            <a:r>
              <a:rPr lang="es-ES_tradnl" altLang="es-ES" sz="800" i="1" dirty="0" err="1"/>
              <a:t>cost</a:t>
            </a:r>
            <a:r>
              <a:rPr lang="es-ES_tradnl" altLang="es-ES" sz="800" i="1" dirty="0"/>
              <a:t> and </a:t>
            </a:r>
            <a:r>
              <a:rPr lang="es-ES_tradnl" altLang="es-ES" sz="800" i="1" dirty="0" err="1"/>
              <a:t>volatility</a:t>
            </a:r>
            <a:r>
              <a:rPr lang="es-ES_tradnl" altLang="es-ES" sz="800" i="1" dirty="0"/>
              <a:t> </a:t>
            </a:r>
            <a:r>
              <a:rPr lang="es-ES_tradnl" altLang="es-ES" sz="800" i="1" dirty="0" err="1"/>
              <a:t>originated</a:t>
            </a:r>
            <a:r>
              <a:rPr lang="es-ES_tradnl" altLang="es-ES" sz="800" i="1" dirty="0"/>
              <a:t> </a:t>
            </a:r>
            <a:r>
              <a:rPr lang="es-ES_tradnl" altLang="es-ES" sz="800" i="1" dirty="0" err="1"/>
              <a:t>by</a:t>
            </a:r>
            <a:r>
              <a:rPr lang="es-ES_tradnl" altLang="es-ES" sz="800" i="1" dirty="0"/>
              <a:t> raw </a:t>
            </a:r>
            <a:r>
              <a:rPr lang="es-ES_tradnl" altLang="es-ES" sz="800" i="1" dirty="0" err="1"/>
              <a:t>materials</a:t>
            </a:r>
            <a:endParaRPr lang="es-ES" altLang="es-ES" sz="800" i="1" dirty="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4B42255-F5D5-43F3-984E-BDC73E3A64A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0581" y="1038006"/>
            <a:ext cx="11445618" cy="1231106"/>
          </a:xfrm>
        </p:spPr>
        <p:txBody>
          <a:bodyPr/>
          <a:lstStyle/>
          <a:p>
            <a:pPr lvl="1"/>
            <a:r>
              <a:rPr lang="en-US" sz="2000" dirty="0" err="1"/>
              <a:t>Kihagyhatatlan</a:t>
            </a:r>
            <a:r>
              <a:rPr lang="en-US" sz="2000" dirty="0"/>
              <a:t> </a:t>
            </a:r>
            <a:r>
              <a:rPr lang="en-US" sz="2000" dirty="0" err="1"/>
              <a:t>összetevői</a:t>
            </a:r>
            <a:r>
              <a:rPr lang="en-US" sz="2000" dirty="0"/>
              <a:t> a </a:t>
            </a:r>
            <a:r>
              <a:rPr lang="en-US" sz="2000" dirty="0" err="1"/>
              <a:t>takarmánynak,a</a:t>
            </a:r>
            <a:r>
              <a:rPr lang="en-US" sz="2000" dirty="0"/>
              <a:t> </a:t>
            </a:r>
            <a:r>
              <a:rPr lang="en-US" sz="2000" dirty="0" err="1"/>
              <a:t>költségük</a:t>
            </a:r>
            <a:r>
              <a:rPr lang="en-US" sz="2000" dirty="0"/>
              <a:t> </a:t>
            </a:r>
            <a:r>
              <a:rPr lang="en-US" sz="2000" dirty="0" err="1"/>
              <a:t>elhanyagolható</a:t>
            </a:r>
            <a:r>
              <a:rPr lang="en-US" sz="2000" dirty="0"/>
              <a:t> </a:t>
            </a:r>
            <a:r>
              <a:rPr lang="en-US" sz="2000" dirty="0" err="1"/>
              <a:t>ugyanakkor</a:t>
            </a:r>
            <a:r>
              <a:rPr lang="en-US" sz="2000" dirty="0"/>
              <a:t> </a:t>
            </a:r>
            <a:r>
              <a:rPr lang="en-US" sz="2000" dirty="0" err="1"/>
              <a:t>hiányuk</a:t>
            </a:r>
            <a:r>
              <a:rPr lang="en-US" sz="2000" dirty="0"/>
              <a:t> </a:t>
            </a:r>
            <a:r>
              <a:rPr lang="en-US" sz="2000" dirty="0" err="1"/>
              <a:t>komoly</a:t>
            </a:r>
            <a:r>
              <a:rPr lang="en-US" sz="2000" dirty="0"/>
              <a:t> </a:t>
            </a:r>
            <a:r>
              <a:rPr lang="en-US" sz="2000" dirty="0" err="1"/>
              <a:t>állategészségügyi</a:t>
            </a:r>
            <a:r>
              <a:rPr lang="en-US" sz="2000" dirty="0"/>
              <a:t> és </a:t>
            </a:r>
            <a:r>
              <a:rPr lang="en-US" sz="2000" dirty="0" err="1"/>
              <a:t>termelési</a:t>
            </a:r>
            <a:r>
              <a:rPr lang="en-US" sz="2000" dirty="0"/>
              <a:t> </a:t>
            </a:r>
            <a:r>
              <a:rPr lang="en-US" sz="2000" dirty="0" err="1"/>
              <a:t>problémákat</a:t>
            </a:r>
            <a:r>
              <a:rPr lang="en-US" sz="2000" dirty="0"/>
              <a:t> </a:t>
            </a:r>
            <a:r>
              <a:rPr lang="en-US" sz="2000" dirty="0" err="1"/>
              <a:t>okoz</a:t>
            </a:r>
            <a:endParaRPr lang="en-US" sz="2000" dirty="0"/>
          </a:p>
          <a:p>
            <a:pPr lvl="1"/>
            <a:r>
              <a:rPr lang="en-US" sz="2000" b="1" dirty="0" err="1">
                <a:solidFill>
                  <a:srgbClr val="FF0000"/>
                </a:solidFill>
              </a:rPr>
              <a:t>Néhány</a:t>
            </a:r>
            <a:r>
              <a:rPr lang="en-US" sz="2000" b="1" dirty="0">
                <a:solidFill>
                  <a:srgbClr val="FF0000"/>
                </a:solidFill>
              </a:rPr>
              <a:t> </a:t>
            </a:r>
            <a:r>
              <a:rPr lang="en-US" sz="2000" b="1" dirty="0" err="1">
                <a:solidFill>
                  <a:srgbClr val="FF0000"/>
                </a:solidFill>
              </a:rPr>
              <a:t>forintért</a:t>
            </a:r>
            <a:r>
              <a:rPr lang="en-US" sz="2000" b="1" dirty="0">
                <a:solidFill>
                  <a:srgbClr val="FF0000"/>
                </a:solidFill>
              </a:rPr>
              <a:t> </a:t>
            </a:r>
            <a:r>
              <a:rPr lang="en-US" sz="2000" b="1" dirty="0" err="1">
                <a:solidFill>
                  <a:srgbClr val="FF0000"/>
                </a:solidFill>
              </a:rPr>
              <a:t>nem</a:t>
            </a:r>
            <a:r>
              <a:rPr lang="en-US" sz="2000" b="1" dirty="0">
                <a:solidFill>
                  <a:srgbClr val="FF0000"/>
                </a:solidFill>
              </a:rPr>
              <a:t> </a:t>
            </a:r>
            <a:r>
              <a:rPr lang="en-US" sz="2000" b="1" dirty="0" err="1">
                <a:solidFill>
                  <a:srgbClr val="FF0000"/>
                </a:solidFill>
              </a:rPr>
              <a:t>érdemes</a:t>
            </a:r>
            <a:r>
              <a:rPr lang="en-US" sz="2000" b="1" dirty="0">
                <a:solidFill>
                  <a:srgbClr val="FF0000"/>
                </a:solidFill>
              </a:rPr>
              <a:t> </a:t>
            </a:r>
            <a:r>
              <a:rPr lang="en-US" sz="2000" b="1" dirty="0" err="1">
                <a:solidFill>
                  <a:srgbClr val="FF0000"/>
                </a:solidFill>
              </a:rPr>
              <a:t>kockáztatni</a:t>
            </a:r>
            <a:r>
              <a:rPr lang="en-US" sz="2000" b="1" dirty="0">
                <a:solidFill>
                  <a:srgbClr val="FF0000"/>
                </a:solidFill>
              </a:rPr>
              <a:t>! </a:t>
            </a:r>
            <a:r>
              <a:rPr lang="en-US" sz="2000" b="1" dirty="0" err="1">
                <a:solidFill>
                  <a:srgbClr val="FF0000"/>
                </a:solidFill>
              </a:rPr>
              <a:t>Ragaszkodjon</a:t>
            </a:r>
            <a:r>
              <a:rPr lang="en-US" sz="2000" b="1" dirty="0">
                <a:solidFill>
                  <a:srgbClr val="FF0000"/>
                </a:solidFill>
              </a:rPr>
              <a:t> </a:t>
            </a:r>
            <a:r>
              <a:rPr lang="en-US" sz="2000" b="1" dirty="0" err="1">
                <a:solidFill>
                  <a:srgbClr val="FF0000"/>
                </a:solidFill>
              </a:rPr>
              <a:t>megfelelő</a:t>
            </a:r>
            <a:r>
              <a:rPr lang="en-US" sz="2000" b="1" dirty="0">
                <a:solidFill>
                  <a:srgbClr val="FF0000"/>
                </a:solidFill>
              </a:rPr>
              <a:t> </a:t>
            </a:r>
            <a:r>
              <a:rPr lang="en-US" sz="2000" b="1" dirty="0" err="1">
                <a:solidFill>
                  <a:srgbClr val="FF0000"/>
                </a:solidFill>
              </a:rPr>
              <a:t>beltartalmi</a:t>
            </a:r>
            <a:r>
              <a:rPr lang="en-US" sz="2000" b="1" dirty="0">
                <a:solidFill>
                  <a:srgbClr val="FF0000"/>
                </a:solidFill>
              </a:rPr>
              <a:t> </a:t>
            </a:r>
            <a:r>
              <a:rPr lang="en-US" sz="2000" b="1" dirty="0" err="1">
                <a:solidFill>
                  <a:srgbClr val="FF0000"/>
                </a:solidFill>
              </a:rPr>
              <a:t>szintekhez</a:t>
            </a:r>
            <a:r>
              <a:rPr lang="en-US" sz="2000" b="1" dirty="0">
                <a:solidFill>
                  <a:srgbClr val="FF0000"/>
                </a:solidFill>
              </a:rPr>
              <a:t>!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1D2A544-7988-4FEC-95B0-FAA5F2EC1D8D}"/>
              </a:ext>
            </a:extLst>
          </p:cNvPr>
          <p:cNvSpPr txBox="1"/>
          <p:nvPr/>
        </p:nvSpPr>
        <p:spPr>
          <a:xfrm>
            <a:off x="10461265" y="5505591"/>
            <a:ext cx="1394934" cy="2616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100" b="1" dirty="0">
                <a:solidFill>
                  <a:schemeClr val="accent1">
                    <a:lumMod val="75000"/>
                  </a:schemeClr>
                </a:solidFill>
                <a:sym typeface="Wingdings" panose="05000000000000000000" pitchFamily="2" charset="2"/>
              </a:rPr>
              <a:t>Vitamin </a:t>
            </a:r>
            <a:r>
              <a:rPr lang="en-GB" sz="1100" b="1" dirty="0" err="1">
                <a:solidFill>
                  <a:schemeClr val="accent1">
                    <a:lumMod val="75000"/>
                  </a:schemeClr>
                </a:solidFill>
                <a:sym typeface="Wingdings" panose="05000000000000000000" pitchFamily="2" charset="2"/>
              </a:rPr>
              <a:t>Volatilitás</a:t>
            </a:r>
            <a:endParaRPr lang="en-GB" sz="1100" b="1" dirty="0">
              <a:solidFill>
                <a:schemeClr val="accent1">
                  <a:lumMod val="75000"/>
                </a:schemeClr>
              </a:solidFill>
              <a:sym typeface="Wingdings" panose="05000000000000000000" pitchFamily="2" charset="2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696FA71-B24A-4A84-BA63-3D6FF4FCA584}"/>
              </a:ext>
            </a:extLst>
          </p:cNvPr>
          <p:cNvSpPr txBox="1"/>
          <p:nvPr/>
        </p:nvSpPr>
        <p:spPr>
          <a:xfrm>
            <a:off x="4393101" y="6175613"/>
            <a:ext cx="1436612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algn="l"/>
            <a:r>
              <a:rPr lang="en-GB" b="1" dirty="0">
                <a:solidFill>
                  <a:schemeClr val="accent1">
                    <a:lumMod val="75000"/>
                  </a:schemeClr>
                </a:solidFill>
                <a:sym typeface="Wingdings" panose="05000000000000000000" pitchFamily="2" charset="2"/>
              </a:rPr>
              <a:t> </a:t>
            </a:r>
            <a:r>
              <a:rPr lang="en-GB" sz="900" b="1" dirty="0">
                <a:solidFill>
                  <a:schemeClr val="accent1">
                    <a:lumMod val="75000"/>
                  </a:schemeClr>
                </a:solidFill>
                <a:sym typeface="Wingdings" panose="05000000000000000000" pitchFamily="2" charset="2"/>
              </a:rPr>
              <a:t>Vitamin </a:t>
            </a:r>
            <a:r>
              <a:rPr lang="en-GB" sz="900" b="1" dirty="0" err="1">
                <a:solidFill>
                  <a:schemeClr val="accent1">
                    <a:lumMod val="75000"/>
                  </a:schemeClr>
                </a:solidFill>
                <a:sym typeface="Wingdings" panose="05000000000000000000" pitchFamily="2" charset="2"/>
              </a:rPr>
              <a:t>Volatilitás</a:t>
            </a:r>
            <a:endParaRPr lang="en-GB" b="1" dirty="0">
              <a:solidFill>
                <a:schemeClr val="accent1">
                  <a:lumMod val="75000"/>
                </a:schemeClr>
              </a:solidFill>
              <a:sym typeface="Wingdings" panose="05000000000000000000" pitchFamily="2" charset="2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EF4B366-8E9D-4BF1-8C85-C3BF079952A3}"/>
              </a:ext>
            </a:extLst>
          </p:cNvPr>
          <p:cNvSpPr txBox="1"/>
          <p:nvPr/>
        </p:nvSpPr>
        <p:spPr>
          <a:xfrm>
            <a:off x="10513183" y="3526581"/>
            <a:ext cx="487634" cy="52322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2800" b="1" dirty="0">
                <a:solidFill>
                  <a:schemeClr val="accent1">
                    <a:lumMod val="75000"/>
                  </a:schemeClr>
                </a:solidFill>
                <a:sym typeface="Wingdings" panose="05000000000000000000" pitchFamily="2" charset="2"/>
              </a:rPr>
              <a:t></a:t>
            </a:r>
            <a:endParaRPr lang="en-GB" sz="1100" b="1" dirty="0">
              <a:solidFill>
                <a:schemeClr val="accent1">
                  <a:lumMod val="75000"/>
                </a:schemeClr>
              </a:solidFill>
              <a:sym typeface="Wingdings" panose="05000000000000000000" pitchFamily="2" charset="2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86EB803-AA62-4D62-BD19-A563F64253C6}"/>
              </a:ext>
            </a:extLst>
          </p:cNvPr>
          <p:cNvSpPr/>
          <p:nvPr/>
        </p:nvSpPr>
        <p:spPr>
          <a:xfrm>
            <a:off x="10825018" y="0"/>
            <a:ext cx="1366982" cy="3017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60413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F14FCF-3F11-4880-8C2A-D6323CD47A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0117" y="535603"/>
            <a:ext cx="10972800" cy="467820"/>
          </a:xfrm>
        </p:spPr>
        <p:txBody>
          <a:bodyPr/>
          <a:lstStyle/>
          <a:p>
            <a:r>
              <a:rPr lang="en-US" dirty="0" err="1"/>
              <a:t>Vitaminok</a:t>
            </a:r>
            <a:endParaRPr lang="en-US" dirty="0"/>
          </a:p>
        </p:txBody>
      </p:sp>
      <p:pic>
        <p:nvPicPr>
          <p:cNvPr id="102404" name="Picture 4" descr="Európai Unió – Wikipédia">
            <a:extLst>
              <a:ext uri="{FF2B5EF4-FFF2-40B4-BE49-F238E27FC236}">
                <a16:creationId xmlns:a16="http://schemas.microsoft.com/office/drawing/2014/main" id="{9FD75919-75CB-4D38-8D97-27323A448C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4615" y="1003423"/>
            <a:ext cx="2823232" cy="2823232"/>
          </a:xfrm>
          <a:prstGeom prst="rect">
            <a:avLst/>
          </a:prstGeom>
          <a:noFill/>
          <a:effectLst>
            <a:outerShdw blurRad="50800" dist="50800" dir="5400000" algn="ctr" rotWithShape="0">
              <a:srgbClr val="FFC000"/>
            </a:outerShdw>
            <a:reflection blurRad="6350" stA="50000" endA="300" endPos="38500" dist="508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4B42255-F5D5-43F3-984E-BDC73E3A64A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33109" y="3131494"/>
            <a:ext cx="5386917" cy="2215991"/>
          </a:xfrm>
        </p:spPr>
        <p:txBody>
          <a:bodyPr/>
          <a:lstStyle/>
          <a:p>
            <a:pPr lvl="2"/>
            <a:r>
              <a:rPr lang="en-US" sz="1600" b="1" dirty="0" err="1">
                <a:solidFill>
                  <a:srgbClr val="FF0000"/>
                </a:solidFill>
              </a:rPr>
              <a:t>Energia</a:t>
            </a:r>
            <a:r>
              <a:rPr lang="en-US" sz="1600" b="1" dirty="0">
                <a:solidFill>
                  <a:srgbClr val="FF0000"/>
                </a:solidFill>
              </a:rPr>
              <a:t> </a:t>
            </a:r>
            <a:r>
              <a:rPr lang="en-US" sz="1600" b="1" dirty="0" err="1">
                <a:solidFill>
                  <a:srgbClr val="FF0000"/>
                </a:solidFill>
              </a:rPr>
              <a:t>válság</a:t>
            </a:r>
            <a:r>
              <a:rPr lang="en-US" sz="1600" b="1" dirty="0">
                <a:solidFill>
                  <a:srgbClr val="FF0000"/>
                </a:solidFill>
              </a:rPr>
              <a:t> – BASF? </a:t>
            </a:r>
          </a:p>
          <a:p>
            <a:pPr lvl="2"/>
            <a:r>
              <a:rPr lang="en-US" sz="1600" b="1" dirty="0" err="1">
                <a:solidFill>
                  <a:srgbClr val="FF0000"/>
                </a:solidFill>
              </a:rPr>
              <a:t>Termelési</a:t>
            </a:r>
            <a:r>
              <a:rPr lang="en-US" sz="1600" b="1" dirty="0">
                <a:solidFill>
                  <a:srgbClr val="FF0000"/>
                </a:solidFill>
              </a:rPr>
              <a:t> </a:t>
            </a:r>
            <a:r>
              <a:rPr lang="en-US" sz="1600" b="1" dirty="0" err="1">
                <a:solidFill>
                  <a:srgbClr val="FF0000"/>
                </a:solidFill>
              </a:rPr>
              <a:t>költségek</a:t>
            </a:r>
            <a:r>
              <a:rPr lang="en-US" sz="1600" b="1" dirty="0">
                <a:solidFill>
                  <a:srgbClr val="FF0000"/>
                </a:solidFill>
              </a:rPr>
              <a:t> </a:t>
            </a:r>
          </a:p>
          <a:p>
            <a:pPr lvl="2"/>
            <a:r>
              <a:rPr lang="en-US" sz="1600" b="1" dirty="0" err="1">
                <a:solidFill>
                  <a:srgbClr val="FF0000"/>
                </a:solidFill>
              </a:rPr>
              <a:t>Munkaerő</a:t>
            </a:r>
            <a:r>
              <a:rPr lang="en-US" sz="1600" b="1" dirty="0">
                <a:solidFill>
                  <a:srgbClr val="FF0000"/>
                </a:solidFill>
              </a:rPr>
              <a:t> </a:t>
            </a:r>
            <a:r>
              <a:rPr lang="en-US" sz="1600" b="1" dirty="0" err="1">
                <a:solidFill>
                  <a:srgbClr val="FF0000"/>
                </a:solidFill>
              </a:rPr>
              <a:t>hiány</a:t>
            </a:r>
            <a:endParaRPr lang="en-US" sz="1600" b="1" dirty="0">
              <a:solidFill>
                <a:srgbClr val="FF0000"/>
              </a:solidFill>
            </a:endParaRPr>
          </a:p>
          <a:p>
            <a:pPr lvl="2"/>
            <a:r>
              <a:rPr lang="en-US" sz="1600" b="1" dirty="0" err="1">
                <a:solidFill>
                  <a:srgbClr val="FF0000"/>
                </a:solidFill>
              </a:rPr>
              <a:t>Átmeneti</a:t>
            </a:r>
            <a:r>
              <a:rPr lang="en-US" sz="1600" b="1" dirty="0">
                <a:solidFill>
                  <a:srgbClr val="FF0000"/>
                </a:solidFill>
              </a:rPr>
              <a:t> </a:t>
            </a:r>
            <a:r>
              <a:rPr lang="en-US" sz="1600" b="1" dirty="0" err="1">
                <a:solidFill>
                  <a:srgbClr val="FF0000"/>
                </a:solidFill>
              </a:rPr>
              <a:t>gyártási</a:t>
            </a:r>
            <a:r>
              <a:rPr lang="en-US" sz="1600" b="1" dirty="0">
                <a:solidFill>
                  <a:srgbClr val="FF0000"/>
                </a:solidFill>
              </a:rPr>
              <a:t> </a:t>
            </a:r>
            <a:r>
              <a:rPr lang="en-US" sz="1600" b="1" dirty="0" err="1">
                <a:solidFill>
                  <a:srgbClr val="FF0000"/>
                </a:solidFill>
              </a:rPr>
              <a:t>problémák</a:t>
            </a:r>
            <a:r>
              <a:rPr lang="en-US" sz="1600" b="1" dirty="0">
                <a:solidFill>
                  <a:srgbClr val="FF0000"/>
                </a:solidFill>
              </a:rPr>
              <a:t>(A,E)</a:t>
            </a:r>
          </a:p>
          <a:p>
            <a:pPr lvl="2"/>
            <a:endParaRPr lang="en-US" sz="1600" b="1" dirty="0">
              <a:solidFill>
                <a:schemeClr val="accent1">
                  <a:lumMod val="75000"/>
                </a:schemeClr>
              </a:solidFill>
            </a:endParaRPr>
          </a:p>
          <a:p>
            <a:pPr lvl="2"/>
            <a:r>
              <a:rPr lang="en-US" sz="1600" b="1" dirty="0">
                <a:solidFill>
                  <a:srgbClr val="009900"/>
                </a:solidFill>
              </a:rPr>
              <a:t>Hosszú </a:t>
            </a:r>
            <a:r>
              <a:rPr lang="en-US" sz="1600" b="1" dirty="0" err="1">
                <a:solidFill>
                  <a:srgbClr val="009900"/>
                </a:solidFill>
              </a:rPr>
              <a:t>távú</a:t>
            </a:r>
            <a:r>
              <a:rPr lang="en-US" sz="1600" b="1" dirty="0">
                <a:solidFill>
                  <a:srgbClr val="009900"/>
                </a:solidFill>
              </a:rPr>
              <a:t> </a:t>
            </a:r>
            <a:r>
              <a:rPr lang="en-US" sz="1600" b="1" dirty="0" err="1">
                <a:solidFill>
                  <a:srgbClr val="009900"/>
                </a:solidFill>
              </a:rPr>
              <a:t>ellátás</a:t>
            </a:r>
            <a:r>
              <a:rPr lang="en-US" sz="1600" b="1" dirty="0">
                <a:solidFill>
                  <a:srgbClr val="009900"/>
                </a:solidFill>
              </a:rPr>
              <a:t> </a:t>
            </a:r>
            <a:r>
              <a:rPr lang="en-US" sz="1600" b="1" dirty="0" err="1">
                <a:solidFill>
                  <a:srgbClr val="009900"/>
                </a:solidFill>
              </a:rPr>
              <a:t>biztonság</a:t>
            </a:r>
            <a:endParaRPr lang="en-US" sz="1600" b="1" dirty="0">
              <a:solidFill>
                <a:srgbClr val="009900"/>
              </a:solidFill>
            </a:endParaRPr>
          </a:p>
          <a:p>
            <a:pPr lvl="2"/>
            <a:r>
              <a:rPr lang="en-US" sz="1600" b="1" dirty="0" err="1">
                <a:solidFill>
                  <a:srgbClr val="009900"/>
                </a:solidFill>
              </a:rPr>
              <a:t>Hatékonyság</a:t>
            </a:r>
            <a:endParaRPr lang="en-US" sz="1600" b="1" dirty="0">
              <a:solidFill>
                <a:srgbClr val="009900"/>
              </a:solidFill>
            </a:endParaRPr>
          </a:p>
          <a:p>
            <a:pPr lvl="2"/>
            <a:r>
              <a:rPr lang="en-US" sz="1600" b="1" dirty="0" err="1">
                <a:solidFill>
                  <a:srgbClr val="009900"/>
                </a:solidFill>
              </a:rPr>
              <a:t>Minőség</a:t>
            </a:r>
            <a:endParaRPr lang="en-US" sz="1600" b="1" dirty="0">
              <a:solidFill>
                <a:srgbClr val="009900"/>
              </a:solidFill>
            </a:endParaRPr>
          </a:p>
          <a:p>
            <a:pPr lvl="2"/>
            <a:r>
              <a:rPr lang="en-US" sz="1600" b="1" dirty="0" err="1">
                <a:solidFill>
                  <a:srgbClr val="009900"/>
                </a:solidFill>
              </a:rPr>
              <a:t>Helyi</a:t>
            </a:r>
            <a:r>
              <a:rPr lang="en-US" sz="1600" b="1" dirty="0">
                <a:solidFill>
                  <a:srgbClr val="009900"/>
                </a:solidFill>
              </a:rPr>
              <a:t> </a:t>
            </a:r>
            <a:r>
              <a:rPr lang="en-US" sz="1600" b="1" dirty="0" err="1">
                <a:solidFill>
                  <a:srgbClr val="009900"/>
                </a:solidFill>
              </a:rPr>
              <a:t>gyártás</a:t>
            </a:r>
            <a:r>
              <a:rPr lang="en-US" sz="1600" b="1" dirty="0">
                <a:solidFill>
                  <a:srgbClr val="009900"/>
                </a:solidFill>
              </a:rPr>
              <a:t> </a:t>
            </a:r>
          </a:p>
        </p:txBody>
      </p:sp>
      <p:pic>
        <p:nvPicPr>
          <p:cNvPr id="102402" name="Picture 2" descr="Kína – Wikipédia">
            <a:extLst>
              <a:ext uri="{FF2B5EF4-FFF2-40B4-BE49-F238E27FC236}">
                <a16:creationId xmlns:a16="http://schemas.microsoft.com/office/drawing/2014/main" id="{B2B49D95-530D-4522-A1B3-7EC17AEEE3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6818" y="1003423"/>
            <a:ext cx="2811395" cy="2811395"/>
          </a:xfrm>
          <a:prstGeom prst="rect">
            <a:avLst/>
          </a:prstGeom>
          <a:noFill/>
          <a:effectLst>
            <a:outerShdw blurRad="50800" dist="50800" dir="5400000" algn="ctr" rotWithShape="0">
              <a:srgbClr val="FFC000"/>
            </a:outerShdw>
            <a:reflection blurRad="6350" stA="52000" endA="300" endPos="35000" dir="5400000" sy="-100000" algn="bl" rotWithShape="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987FC2C-30A9-4314-8AC1-CDB3C3E01E4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93372" y="2174875"/>
            <a:ext cx="5389034" cy="1477328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F307ADB4-F899-4887-832D-9231C4CFAE27}"/>
              </a:ext>
            </a:extLst>
          </p:cNvPr>
          <p:cNvSpPr txBox="1">
            <a:spLocks/>
          </p:cNvSpPr>
          <p:nvPr/>
        </p:nvSpPr>
        <p:spPr bwMode="auto">
          <a:xfrm>
            <a:off x="6498497" y="3131493"/>
            <a:ext cx="5386917" cy="22159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indent="-34290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buChar char="•"/>
              <a:defRPr sz="1800">
                <a:solidFill>
                  <a:schemeClr val="tx1"/>
                </a:solidFill>
                <a:latin typeface="+mn-lt"/>
                <a:cs typeface="+mn-cs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5pPr>
            <a:lvl6pPr marL="25146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fontAlgn="base">
              <a:spcBef>
                <a:spcPct val="0"/>
              </a:spcBef>
              <a:spcAft>
                <a:spcPct val="0"/>
              </a:spcAft>
              <a:buChar char="»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2"/>
            <a:r>
              <a:rPr lang="en-US" sz="1600" b="1" kern="0" dirty="0" err="1">
                <a:solidFill>
                  <a:srgbClr val="FF0000"/>
                </a:solidFill>
              </a:rPr>
              <a:t>Környezetszennyezés</a:t>
            </a:r>
            <a:endParaRPr lang="en-US" sz="1600" b="1" kern="0" dirty="0">
              <a:solidFill>
                <a:srgbClr val="FF0000"/>
              </a:solidFill>
            </a:endParaRPr>
          </a:p>
          <a:p>
            <a:pPr lvl="2"/>
            <a:r>
              <a:rPr lang="en-US" sz="1600" b="1" kern="0" dirty="0" err="1">
                <a:solidFill>
                  <a:srgbClr val="FF0000"/>
                </a:solidFill>
              </a:rPr>
              <a:t>Állami</a:t>
            </a:r>
            <a:r>
              <a:rPr lang="en-US" sz="1600" b="1" kern="0" dirty="0">
                <a:solidFill>
                  <a:srgbClr val="FF0000"/>
                </a:solidFill>
              </a:rPr>
              <a:t> </a:t>
            </a:r>
            <a:r>
              <a:rPr lang="en-US" sz="1600" b="1" kern="0" dirty="0" err="1">
                <a:solidFill>
                  <a:srgbClr val="FF0000"/>
                </a:solidFill>
              </a:rPr>
              <a:t>beavatkozás</a:t>
            </a:r>
            <a:r>
              <a:rPr lang="en-US" sz="1600" b="1" kern="0" dirty="0">
                <a:solidFill>
                  <a:srgbClr val="FF0000"/>
                </a:solidFill>
              </a:rPr>
              <a:t>, COVID </a:t>
            </a:r>
            <a:r>
              <a:rPr lang="en-US" sz="1600" b="1" kern="0" dirty="0" err="1">
                <a:solidFill>
                  <a:srgbClr val="FF0000"/>
                </a:solidFill>
              </a:rPr>
              <a:t>stb</a:t>
            </a:r>
            <a:endParaRPr lang="en-US" sz="1600" b="1" kern="0" dirty="0">
              <a:solidFill>
                <a:srgbClr val="FF0000"/>
              </a:solidFill>
            </a:endParaRPr>
          </a:p>
          <a:p>
            <a:pPr lvl="2"/>
            <a:r>
              <a:rPr lang="en-US" sz="1600" b="1" kern="0" dirty="0" err="1">
                <a:solidFill>
                  <a:srgbClr val="FF0000"/>
                </a:solidFill>
              </a:rPr>
              <a:t>Fuvarköltség</a:t>
            </a:r>
            <a:endParaRPr lang="en-US" sz="1600" b="1" kern="0" dirty="0">
              <a:solidFill>
                <a:srgbClr val="FF0000"/>
              </a:solidFill>
            </a:endParaRPr>
          </a:p>
          <a:p>
            <a:pPr lvl="2"/>
            <a:r>
              <a:rPr lang="en-US" sz="1600" b="1" kern="0" dirty="0" err="1">
                <a:solidFill>
                  <a:srgbClr val="FF0000"/>
                </a:solidFill>
              </a:rPr>
              <a:t>Árfolyam</a:t>
            </a:r>
            <a:endParaRPr lang="en-US" sz="1600" b="1" kern="0" dirty="0">
              <a:solidFill>
                <a:srgbClr val="FF0000"/>
              </a:solidFill>
            </a:endParaRPr>
          </a:p>
          <a:p>
            <a:pPr lvl="2"/>
            <a:endParaRPr lang="en-US" sz="1600" b="1" kern="0" dirty="0">
              <a:solidFill>
                <a:schemeClr val="accent1">
                  <a:lumMod val="75000"/>
                </a:schemeClr>
              </a:solidFill>
            </a:endParaRPr>
          </a:p>
          <a:p>
            <a:pPr lvl="2"/>
            <a:r>
              <a:rPr lang="en-US" sz="1600" b="1" kern="0" dirty="0" err="1">
                <a:solidFill>
                  <a:srgbClr val="009900"/>
                </a:solidFill>
              </a:rPr>
              <a:t>Energia</a:t>
            </a:r>
            <a:endParaRPr lang="en-US" sz="1600" b="1" kern="0" dirty="0">
              <a:solidFill>
                <a:srgbClr val="009900"/>
              </a:solidFill>
            </a:endParaRPr>
          </a:p>
          <a:p>
            <a:pPr lvl="2"/>
            <a:r>
              <a:rPr lang="en-US" sz="1600" b="1" kern="0" dirty="0" err="1">
                <a:solidFill>
                  <a:srgbClr val="009900"/>
                </a:solidFill>
              </a:rPr>
              <a:t>Munkaerő</a:t>
            </a:r>
            <a:endParaRPr lang="en-US" sz="1600" b="1" kern="0" dirty="0">
              <a:solidFill>
                <a:srgbClr val="009900"/>
              </a:solidFill>
            </a:endParaRPr>
          </a:p>
          <a:p>
            <a:pPr lvl="2"/>
            <a:r>
              <a:rPr lang="en-US" sz="1600" b="1" kern="0" dirty="0" err="1">
                <a:solidFill>
                  <a:srgbClr val="009900"/>
                </a:solidFill>
              </a:rPr>
              <a:t>Mennyiség</a:t>
            </a:r>
            <a:endParaRPr lang="en-US" sz="1600" b="1" kern="0" dirty="0">
              <a:solidFill>
                <a:srgbClr val="009900"/>
              </a:solidFill>
            </a:endParaRPr>
          </a:p>
          <a:p>
            <a:pPr lvl="2"/>
            <a:r>
              <a:rPr lang="en-US" sz="1600" b="1" kern="0" dirty="0" err="1">
                <a:solidFill>
                  <a:srgbClr val="009900"/>
                </a:solidFill>
              </a:rPr>
              <a:t>Költségszerkezet</a:t>
            </a:r>
            <a:endParaRPr lang="en-US" sz="1600" b="1" kern="0" dirty="0">
              <a:solidFill>
                <a:srgbClr val="009900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FA674F-62E0-4FAC-860D-99FED7624493}"/>
              </a:ext>
            </a:extLst>
          </p:cNvPr>
          <p:cNvSpPr txBox="1"/>
          <p:nvPr/>
        </p:nvSpPr>
        <p:spPr>
          <a:xfrm>
            <a:off x="859692" y="5854577"/>
            <a:ext cx="716939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arotinoidok</a:t>
            </a:r>
            <a:r>
              <a:rPr lang="en-US" b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</a:t>
            </a:r>
            <a:r>
              <a:rPr lang="en-US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err="1"/>
              <a:t>aszály</a:t>
            </a:r>
            <a:r>
              <a:rPr lang="en-US" dirty="0"/>
              <a:t> / </a:t>
            </a:r>
            <a:r>
              <a:rPr lang="en-US" dirty="0" err="1"/>
              <a:t>gabona</a:t>
            </a:r>
            <a:r>
              <a:rPr lang="en-US" dirty="0"/>
              <a:t> </a:t>
            </a:r>
            <a:r>
              <a:rPr lang="en-US" dirty="0" err="1"/>
              <a:t>minőség</a:t>
            </a:r>
            <a:r>
              <a:rPr lang="en-US" dirty="0"/>
              <a:t>: </a:t>
            </a:r>
            <a:r>
              <a:rPr lang="en-US" dirty="0" err="1"/>
              <a:t>tojás</a:t>
            </a:r>
            <a:r>
              <a:rPr lang="en-US" dirty="0"/>
              <a:t> és </a:t>
            </a:r>
            <a:r>
              <a:rPr lang="en-US" dirty="0" err="1"/>
              <a:t>bőrszinezés</a:t>
            </a:r>
            <a:r>
              <a:rPr lang="en-US" dirty="0"/>
              <a:t> (</a:t>
            </a:r>
            <a:r>
              <a:rPr lang="en-US" dirty="0" err="1"/>
              <a:t>Carophyll</a:t>
            </a:r>
            <a:r>
              <a:rPr lang="en-US" dirty="0"/>
              <a:t> Yellow)</a:t>
            </a:r>
          </a:p>
        </p:txBody>
      </p:sp>
      <p:pic>
        <p:nvPicPr>
          <p:cNvPr id="11" name="Graphic 10" descr="Question Mark with solid fill">
            <a:extLst>
              <a:ext uri="{FF2B5EF4-FFF2-40B4-BE49-F238E27FC236}">
                <a16:creationId xmlns:a16="http://schemas.microsoft.com/office/drawing/2014/main" id="{6433CC82-D5C9-4D1C-A9D9-E2E0D1F85B5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20409" y="479594"/>
            <a:ext cx="3060775" cy="3060775"/>
          </a:xfrm>
          <a:prstGeom prst="rect">
            <a:avLst/>
          </a:prstGeom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9E37873C-0A87-47CF-9AD6-84CFAB584766}"/>
              </a:ext>
            </a:extLst>
          </p:cNvPr>
          <p:cNvSpPr/>
          <p:nvPr/>
        </p:nvSpPr>
        <p:spPr>
          <a:xfrm>
            <a:off x="10825018" y="0"/>
            <a:ext cx="1366982" cy="3017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35D39A2-E655-4B4D-9E46-0C7F6F9AEF12}"/>
              </a:ext>
            </a:extLst>
          </p:cNvPr>
          <p:cNvSpPr/>
          <p:nvPr/>
        </p:nvSpPr>
        <p:spPr>
          <a:xfrm>
            <a:off x="948835" y="6500908"/>
            <a:ext cx="1366982" cy="3017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98290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2A7137-C932-40EA-86F0-A1D7FFEE82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7364" y="2415209"/>
            <a:ext cx="9145741" cy="1322743"/>
          </a:xfrm>
        </p:spPr>
        <p:txBody>
          <a:bodyPr/>
          <a:lstStyle/>
          <a:p>
            <a:r>
              <a:rPr lang="en-US" b="1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Rendhagyó</a:t>
            </a:r>
            <a:r>
              <a:rPr lang="en-US" b="1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en-US" b="1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történelem</a:t>
            </a:r>
            <a:r>
              <a:rPr lang="en-US" b="1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en-US" b="1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óra</a:t>
            </a:r>
            <a:endParaRPr lang="en-US" b="1" dirty="0">
              <a:solidFill>
                <a:schemeClr val="bg1"/>
              </a:solidFill>
              <a:latin typeface="Bradley Hand ITC" panose="03070402050302030203" pitchFamily="66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8E82C47-6900-4E79-82C9-CACCD6BC7604}"/>
              </a:ext>
            </a:extLst>
          </p:cNvPr>
          <p:cNvSpPr/>
          <p:nvPr/>
        </p:nvSpPr>
        <p:spPr>
          <a:xfrm>
            <a:off x="10774017" y="0"/>
            <a:ext cx="1411357" cy="39756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67347138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93E8E6-266A-4EE8-890F-428E83C5BA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9623" y="280787"/>
            <a:ext cx="9042494" cy="467820"/>
          </a:xfrm>
        </p:spPr>
        <p:txBody>
          <a:bodyPr/>
          <a:lstStyle/>
          <a:p>
            <a:r>
              <a:rPr lang="en-US" dirty="0" err="1"/>
              <a:t>Aminosavak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DA3B25F-9D7B-482E-8B97-AB9F8010436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1629" y="748608"/>
            <a:ext cx="9046723" cy="4985980"/>
          </a:xfrm>
        </p:spPr>
        <p:txBody>
          <a:bodyPr/>
          <a:lstStyle/>
          <a:p>
            <a:endParaRPr lang="en-US" dirty="0"/>
          </a:p>
          <a:p>
            <a:r>
              <a:rPr lang="en-US" dirty="0" err="1"/>
              <a:t>Kereslet</a:t>
            </a:r>
            <a:r>
              <a:rPr lang="en-US" dirty="0"/>
              <a:t> </a:t>
            </a:r>
            <a:r>
              <a:rPr lang="en-US" dirty="0" err="1"/>
              <a:t>tovább</a:t>
            </a:r>
            <a:r>
              <a:rPr lang="en-US" dirty="0"/>
              <a:t> </a:t>
            </a:r>
            <a:r>
              <a:rPr lang="en-US" dirty="0" err="1"/>
              <a:t>növekedik</a:t>
            </a:r>
            <a:r>
              <a:rPr lang="en-US" dirty="0"/>
              <a:t>, </a:t>
            </a:r>
            <a:r>
              <a:rPr lang="en-US" dirty="0" err="1"/>
              <a:t>gyártói</a:t>
            </a:r>
            <a:r>
              <a:rPr lang="en-US" dirty="0"/>
              <a:t> </a:t>
            </a:r>
            <a:r>
              <a:rPr lang="en-US" dirty="0" err="1"/>
              <a:t>koncentráció</a:t>
            </a:r>
            <a:r>
              <a:rPr lang="en-US" dirty="0"/>
              <a:t>, </a:t>
            </a:r>
            <a:r>
              <a:rPr lang="en-US" dirty="0" err="1"/>
              <a:t>ellátásbiztonság</a:t>
            </a:r>
            <a:r>
              <a:rPr lang="en-US" dirty="0"/>
              <a:t> (</a:t>
            </a:r>
            <a:r>
              <a:rPr lang="en-US" dirty="0" err="1"/>
              <a:t>lys-thr</a:t>
            </a:r>
            <a:r>
              <a:rPr lang="en-US" dirty="0"/>
              <a:t>)</a:t>
            </a:r>
          </a:p>
          <a:p>
            <a:endParaRPr lang="en-US" dirty="0"/>
          </a:p>
          <a:p>
            <a:r>
              <a:rPr lang="en-US" dirty="0" err="1"/>
              <a:t>Új</a:t>
            </a:r>
            <a:r>
              <a:rPr lang="en-US" dirty="0"/>
              <a:t> </a:t>
            </a:r>
            <a:r>
              <a:rPr lang="en-US" dirty="0" err="1"/>
              <a:t>egyedi</a:t>
            </a:r>
            <a:r>
              <a:rPr lang="en-US" dirty="0"/>
              <a:t> </a:t>
            </a:r>
            <a:r>
              <a:rPr lang="en-US" dirty="0" err="1"/>
              <a:t>aminosavak</a:t>
            </a:r>
            <a:r>
              <a:rPr lang="en-US" dirty="0"/>
              <a:t> a </a:t>
            </a:r>
            <a:r>
              <a:rPr lang="en-US" dirty="0" err="1"/>
              <a:t>takarmány</a:t>
            </a:r>
            <a:r>
              <a:rPr lang="en-US" dirty="0"/>
              <a:t> </a:t>
            </a:r>
            <a:r>
              <a:rPr lang="en-US" dirty="0" err="1"/>
              <a:t>receptúrákban</a:t>
            </a:r>
            <a:r>
              <a:rPr lang="en-US" dirty="0"/>
              <a:t>: Arginine, Iso-Leucine, </a:t>
            </a:r>
          </a:p>
          <a:p>
            <a:pPr marL="0" indent="0">
              <a:buNone/>
            </a:pPr>
            <a:r>
              <a:rPr lang="en-US" dirty="0"/>
              <a:t>     Histidine </a:t>
            </a:r>
            <a:r>
              <a:rPr lang="en-US" dirty="0" err="1"/>
              <a:t>kereskedelmi</a:t>
            </a:r>
            <a:r>
              <a:rPr lang="en-US" dirty="0"/>
              <a:t> </a:t>
            </a:r>
            <a:r>
              <a:rPr lang="en-US" dirty="0" err="1"/>
              <a:t>forgalomban</a:t>
            </a:r>
            <a:r>
              <a:rPr lang="en-US" dirty="0"/>
              <a:t> </a:t>
            </a:r>
            <a:r>
              <a:rPr lang="en-US" dirty="0" err="1"/>
              <a:t>már</a:t>
            </a:r>
            <a:r>
              <a:rPr lang="en-US" dirty="0"/>
              <a:t> </a:t>
            </a:r>
            <a:r>
              <a:rPr lang="en-US" dirty="0" err="1"/>
              <a:t>elérhetőek</a:t>
            </a:r>
            <a:endParaRPr lang="en-US" dirty="0"/>
          </a:p>
          <a:p>
            <a:endParaRPr lang="en-US" dirty="0"/>
          </a:p>
          <a:p>
            <a:r>
              <a:rPr lang="en-US" dirty="0"/>
              <a:t>DL Methionine, Lysine és Threonine: </a:t>
            </a:r>
            <a:r>
              <a:rPr lang="en-US" dirty="0" err="1"/>
              <a:t>bőséges</a:t>
            </a:r>
            <a:r>
              <a:rPr lang="en-US" dirty="0"/>
              <a:t> </a:t>
            </a:r>
            <a:r>
              <a:rPr lang="en-US" dirty="0" err="1"/>
              <a:t>termelői</a:t>
            </a:r>
            <a:r>
              <a:rPr lang="en-US" dirty="0"/>
              <a:t> (</a:t>
            </a:r>
            <a:r>
              <a:rPr lang="en-US" dirty="0" err="1"/>
              <a:t>túl</a:t>
            </a:r>
            <a:r>
              <a:rPr lang="en-US" dirty="0"/>
              <a:t>)</a:t>
            </a:r>
            <a:r>
              <a:rPr lang="en-US" dirty="0" err="1"/>
              <a:t>kapacitások</a:t>
            </a:r>
            <a:r>
              <a:rPr lang="en-US" dirty="0"/>
              <a:t> </a:t>
            </a:r>
            <a:r>
              <a:rPr lang="en-US" dirty="0" err="1"/>
              <a:t>párhuzamosan</a:t>
            </a:r>
            <a:r>
              <a:rPr lang="en-US" dirty="0"/>
              <a:t> a </a:t>
            </a:r>
            <a:r>
              <a:rPr lang="en-US" dirty="0" err="1"/>
              <a:t>kereslet</a:t>
            </a:r>
            <a:r>
              <a:rPr lang="en-US" dirty="0"/>
              <a:t> </a:t>
            </a:r>
            <a:r>
              <a:rPr lang="en-US" dirty="0" err="1"/>
              <a:t>növekedésével</a:t>
            </a:r>
            <a:endParaRPr lang="en-US" dirty="0"/>
          </a:p>
          <a:p>
            <a:endParaRPr lang="en-US" dirty="0"/>
          </a:p>
          <a:p>
            <a:r>
              <a:rPr lang="en-US" dirty="0"/>
              <a:t>Tryptophan és Valin </a:t>
            </a:r>
            <a:r>
              <a:rPr lang="en-US" dirty="0" err="1"/>
              <a:t>termelői</a:t>
            </a:r>
            <a:r>
              <a:rPr lang="en-US" dirty="0"/>
              <a:t> </a:t>
            </a:r>
            <a:r>
              <a:rPr lang="en-US" dirty="0" err="1"/>
              <a:t>kapacitások</a:t>
            </a:r>
            <a:r>
              <a:rPr lang="en-US" dirty="0"/>
              <a:t> </a:t>
            </a:r>
            <a:r>
              <a:rPr lang="en-US" dirty="0" err="1"/>
              <a:t>rendben</a:t>
            </a:r>
            <a:r>
              <a:rPr lang="en-US" dirty="0"/>
              <a:t> </a:t>
            </a:r>
            <a:r>
              <a:rPr lang="en-US" dirty="0" err="1"/>
              <a:t>vannak</a:t>
            </a:r>
            <a:r>
              <a:rPr lang="en-US" dirty="0"/>
              <a:t>, </a:t>
            </a:r>
            <a:r>
              <a:rPr lang="en-US" dirty="0" err="1"/>
              <a:t>további</a:t>
            </a:r>
            <a:r>
              <a:rPr lang="en-US" dirty="0"/>
              <a:t> </a:t>
            </a:r>
            <a:r>
              <a:rPr lang="en-US" dirty="0" err="1"/>
              <a:t>gyors</a:t>
            </a:r>
            <a:r>
              <a:rPr lang="en-US" dirty="0"/>
              <a:t> </a:t>
            </a:r>
            <a:r>
              <a:rPr lang="en-US" dirty="0" err="1"/>
              <a:t>növekedés</a:t>
            </a:r>
            <a:r>
              <a:rPr lang="en-US" dirty="0"/>
              <a:t> </a:t>
            </a:r>
            <a:r>
              <a:rPr lang="en-US" dirty="0" err="1"/>
              <a:t>várható</a:t>
            </a:r>
            <a:endParaRPr lang="en-US" dirty="0"/>
          </a:p>
          <a:p>
            <a:endParaRPr lang="en-US" dirty="0"/>
          </a:p>
          <a:p>
            <a:r>
              <a:rPr lang="en-US" dirty="0"/>
              <a:t>Az </a:t>
            </a:r>
            <a:r>
              <a:rPr lang="en-US" dirty="0" err="1"/>
              <a:t>aminosavak</a:t>
            </a:r>
            <a:r>
              <a:rPr lang="en-US" dirty="0"/>
              <a:t> </a:t>
            </a:r>
            <a:r>
              <a:rPr lang="en-US" dirty="0" err="1"/>
              <a:t>használata</a:t>
            </a:r>
            <a:r>
              <a:rPr lang="en-US" dirty="0"/>
              <a:t> </a:t>
            </a:r>
            <a:r>
              <a:rPr lang="en-US" dirty="0" err="1"/>
              <a:t>az</a:t>
            </a:r>
            <a:r>
              <a:rPr lang="en-US" dirty="0"/>
              <a:t> </a:t>
            </a:r>
            <a:r>
              <a:rPr lang="en-US" dirty="0" err="1"/>
              <a:t>egyik</a:t>
            </a:r>
            <a:r>
              <a:rPr lang="en-US" dirty="0"/>
              <a:t> </a:t>
            </a:r>
            <a:r>
              <a:rPr lang="en-US" dirty="0" err="1"/>
              <a:t>legjobb</a:t>
            </a:r>
            <a:r>
              <a:rPr lang="en-US" dirty="0"/>
              <a:t> </a:t>
            </a:r>
            <a:r>
              <a:rPr lang="en-US" dirty="0" err="1"/>
              <a:t>alternativa</a:t>
            </a:r>
            <a:r>
              <a:rPr lang="en-US" dirty="0"/>
              <a:t> a </a:t>
            </a:r>
            <a:r>
              <a:rPr lang="en-US" dirty="0" err="1"/>
              <a:t>takarmányreceptúrák</a:t>
            </a:r>
            <a:r>
              <a:rPr lang="en-US" dirty="0"/>
              <a:t> </a:t>
            </a:r>
            <a:r>
              <a:rPr lang="en-US" dirty="0" err="1"/>
              <a:t>optimalizálása</a:t>
            </a:r>
            <a:r>
              <a:rPr lang="en-US" dirty="0"/>
              <a:t> </a:t>
            </a:r>
            <a:r>
              <a:rPr lang="en-US" dirty="0" err="1"/>
              <a:t>irányában</a:t>
            </a:r>
            <a:r>
              <a:rPr lang="en-US" dirty="0"/>
              <a:t> </a:t>
            </a:r>
            <a:r>
              <a:rPr lang="en-US" dirty="0" err="1"/>
              <a:t>különösképpen</a:t>
            </a:r>
            <a:r>
              <a:rPr lang="en-US" dirty="0"/>
              <a:t> </a:t>
            </a:r>
            <a:r>
              <a:rPr lang="en-US" dirty="0" err="1"/>
              <a:t>az</a:t>
            </a:r>
            <a:r>
              <a:rPr lang="en-US" dirty="0"/>
              <a:t> </a:t>
            </a:r>
            <a:r>
              <a:rPr lang="en-US" dirty="0" err="1"/>
              <a:t>új</a:t>
            </a:r>
            <a:r>
              <a:rPr lang="en-US" dirty="0"/>
              <a:t> </a:t>
            </a:r>
            <a:r>
              <a:rPr lang="en-US" dirty="0" err="1"/>
              <a:t>fenntarthatósági</a:t>
            </a:r>
            <a:r>
              <a:rPr lang="en-US" dirty="0"/>
              <a:t> és </a:t>
            </a:r>
            <a:r>
              <a:rPr lang="en-US" dirty="0" err="1"/>
              <a:t>emissziós</a:t>
            </a:r>
            <a:r>
              <a:rPr lang="en-US" dirty="0"/>
              <a:t> </a:t>
            </a:r>
            <a:r>
              <a:rPr lang="en-US" dirty="0" err="1"/>
              <a:t>szabályok</a:t>
            </a:r>
            <a:r>
              <a:rPr lang="en-US" dirty="0"/>
              <a:t> </a:t>
            </a:r>
            <a:r>
              <a:rPr lang="en-US" dirty="0" err="1"/>
              <a:t>várható</a:t>
            </a:r>
            <a:r>
              <a:rPr lang="en-US" dirty="0"/>
              <a:t> </a:t>
            </a:r>
            <a:r>
              <a:rPr lang="en-US" dirty="0" err="1"/>
              <a:t>bevezetése</a:t>
            </a:r>
            <a:r>
              <a:rPr lang="en-US" dirty="0"/>
              <a:t> </a:t>
            </a:r>
            <a:r>
              <a:rPr lang="en-US" dirty="0" err="1"/>
              <a:t>után</a:t>
            </a:r>
            <a:endParaRPr lang="en-US" dirty="0"/>
          </a:p>
          <a:p>
            <a:endParaRPr lang="en-US" dirty="0"/>
          </a:p>
          <a:p>
            <a:r>
              <a:rPr lang="en-US" dirty="0"/>
              <a:t>A </a:t>
            </a:r>
            <a:r>
              <a:rPr lang="en-US" dirty="0" err="1"/>
              <a:t>karbon</a:t>
            </a:r>
            <a:r>
              <a:rPr lang="en-US" dirty="0"/>
              <a:t> </a:t>
            </a:r>
            <a:r>
              <a:rPr lang="en-US" dirty="0" err="1"/>
              <a:t>lábnyom</a:t>
            </a:r>
            <a:r>
              <a:rPr lang="en-US" dirty="0"/>
              <a:t> </a:t>
            </a:r>
            <a:r>
              <a:rPr lang="en-US" dirty="0" err="1"/>
              <a:t>számitás</a:t>
            </a:r>
            <a:r>
              <a:rPr lang="en-US" dirty="0"/>
              <a:t> </a:t>
            </a:r>
            <a:r>
              <a:rPr lang="en-US" dirty="0" err="1"/>
              <a:t>bevezetésével</a:t>
            </a:r>
            <a:r>
              <a:rPr lang="en-US" dirty="0"/>
              <a:t> a </a:t>
            </a:r>
            <a:r>
              <a:rPr lang="en-US" dirty="0" err="1"/>
              <a:t>termék</a:t>
            </a:r>
            <a:r>
              <a:rPr lang="en-US" dirty="0"/>
              <a:t> </a:t>
            </a:r>
            <a:r>
              <a:rPr lang="en-US" dirty="0" err="1"/>
              <a:t>eredete</a:t>
            </a:r>
            <a:r>
              <a:rPr lang="en-US" dirty="0"/>
              <a:t>, </a:t>
            </a:r>
            <a:r>
              <a:rPr lang="en-US" dirty="0" err="1"/>
              <a:t>gyártói</a:t>
            </a:r>
            <a:r>
              <a:rPr lang="en-US" dirty="0"/>
              <a:t> </a:t>
            </a:r>
            <a:r>
              <a:rPr lang="en-US" dirty="0" err="1"/>
              <a:t>helye</a:t>
            </a:r>
            <a:r>
              <a:rPr lang="en-US" dirty="0"/>
              <a:t> </a:t>
            </a:r>
            <a:r>
              <a:rPr lang="en-US" dirty="0" err="1"/>
              <a:t>további</a:t>
            </a:r>
            <a:r>
              <a:rPr lang="en-US" dirty="0"/>
              <a:t> </a:t>
            </a:r>
            <a:r>
              <a:rPr lang="en-US" dirty="0" err="1"/>
              <a:t>megfontolás</a:t>
            </a:r>
            <a:r>
              <a:rPr lang="en-US" dirty="0"/>
              <a:t> </a:t>
            </a:r>
            <a:r>
              <a:rPr lang="en-US" dirty="0" err="1"/>
              <a:t>tárgya</a:t>
            </a:r>
            <a:r>
              <a:rPr lang="en-US" dirty="0"/>
              <a:t> </a:t>
            </a:r>
            <a:r>
              <a:rPr lang="en-US" dirty="0" err="1"/>
              <a:t>lesz</a:t>
            </a:r>
            <a:endParaRPr lang="nl-NL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AE7321B-7E16-4688-A7B4-666E08A825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72732" y="592299"/>
            <a:ext cx="2953153" cy="2070252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9036B3FE-9C98-47A5-9F54-0C7EF28CD6C3}"/>
              </a:ext>
            </a:extLst>
          </p:cNvPr>
          <p:cNvSpPr/>
          <p:nvPr/>
        </p:nvSpPr>
        <p:spPr>
          <a:xfrm>
            <a:off x="10825018" y="0"/>
            <a:ext cx="1366982" cy="3017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5E81171-23DA-4790-87B5-E9520A8860F5}"/>
              </a:ext>
            </a:extLst>
          </p:cNvPr>
          <p:cNvSpPr/>
          <p:nvPr/>
        </p:nvSpPr>
        <p:spPr>
          <a:xfrm>
            <a:off x="392244" y="6426340"/>
            <a:ext cx="1366982" cy="3017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760044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Table&#10;&#10;Description automatically generated">
            <a:extLst>
              <a:ext uri="{FF2B5EF4-FFF2-40B4-BE49-F238E27FC236}">
                <a16:creationId xmlns:a16="http://schemas.microsoft.com/office/drawing/2014/main" id="{FDF805DB-54F9-491B-AD46-591B8C993FD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GlowDiffused trans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" y="208429"/>
            <a:ext cx="11971791" cy="6624748"/>
          </a:xfrm>
          <a:prstGeom prst="rect">
            <a:avLst/>
          </a:prstGeom>
          <a:noFill/>
          <a:effectLst>
            <a:outerShdw sx="1000" sy="1000" algn="ctr" rotWithShape="0">
              <a:srgbClr val="000000"/>
            </a:outerShdw>
            <a:reflection endPos="0" dir="5400000" sy="-100000" algn="bl" rotWithShape="0"/>
          </a:effectLst>
        </p:spPr>
      </p:pic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94DCB2F-F492-49EA-A90A-DBB9119091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35" name="think-cell Slide" r:id="rId6" imgW="429" imgH="429" progId="TCLayout.ActiveDocument.1">
                  <p:embed/>
                </p:oleObj>
              </mc:Choice>
              <mc:Fallback>
                <p:oleObj name="think-cell Slide" r:id="rId6" imgW="429" imgH="42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94DCB2F-F492-49EA-A90A-DBB9119091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6B8BA93-815C-4874-B6D5-F8FD0A1190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4667" y="410992"/>
            <a:ext cx="11262666" cy="498598"/>
          </a:xfrm>
        </p:spPr>
        <p:txBody>
          <a:bodyPr/>
          <a:lstStyle/>
          <a:p>
            <a:r>
              <a:rPr lang="en-US" sz="3600" b="1" dirty="0" err="1">
                <a:latin typeface="Trebuchet MS" panose="020B0603020202020204" pitchFamily="34" charset="0"/>
              </a:rPr>
              <a:t>Mineráliák</a:t>
            </a:r>
            <a:r>
              <a:rPr lang="en-US" sz="3600" b="1" dirty="0">
                <a:latin typeface="Trebuchet MS" panose="020B0603020202020204" pitchFamily="34" charset="0"/>
              </a:rPr>
              <a:t> </a:t>
            </a:r>
            <a:r>
              <a:rPr lang="en-US" sz="3600" b="1" dirty="0" err="1">
                <a:latin typeface="Trebuchet MS" panose="020B0603020202020204" pitchFamily="34" charset="0"/>
              </a:rPr>
              <a:t>és</a:t>
            </a:r>
            <a:r>
              <a:rPr lang="en-US" sz="3600" b="1" dirty="0">
                <a:latin typeface="Trebuchet MS" panose="020B0603020202020204" pitchFamily="34" charset="0"/>
              </a:rPr>
              <a:t> </a:t>
            </a:r>
            <a:r>
              <a:rPr lang="en-US" sz="3600" b="1" dirty="0" err="1">
                <a:latin typeface="Trebuchet MS" panose="020B0603020202020204" pitchFamily="34" charset="0"/>
              </a:rPr>
              <a:t>egyéb</a:t>
            </a:r>
            <a:r>
              <a:rPr lang="en-US" sz="3600" b="1" dirty="0">
                <a:latin typeface="Trebuchet MS" panose="020B0603020202020204" pitchFamily="34" charset="0"/>
              </a:rPr>
              <a:t> </a:t>
            </a:r>
            <a:r>
              <a:rPr lang="en-US" sz="3600" b="1" dirty="0" err="1">
                <a:latin typeface="Trebuchet MS" panose="020B0603020202020204" pitchFamily="34" charset="0"/>
              </a:rPr>
              <a:t>alapanyagok</a:t>
            </a:r>
            <a:endParaRPr lang="en-US" sz="3600" b="1" dirty="0">
              <a:latin typeface="Trebuchet MS" panose="020B0603020202020204" pitchFamily="34" charset="0"/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1CB963-F817-1583-849E-07BD9A6246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64667" y="1395497"/>
            <a:ext cx="11503791" cy="4944943"/>
          </a:xfrm>
        </p:spPr>
        <p:txBody>
          <a:bodyPr vert="horz" wrap="square" lIns="0" tIns="0" rIns="0" bIns="0" rtlCol="0" anchor="t">
            <a:spAutoFit/>
          </a:bodyPr>
          <a:lstStyle/>
          <a:p>
            <a:pPr marL="251460" indent="-251460">
              <a:lnSpc>
                <a:spcPts val="2500"/>
              </a:lnSpc>
              <a:buFont typeface="Wingdings" panose="020B0604020202020204" pitchFamily="34" charset="0"/>
              <a:buChar char="§"/>
            </a:pP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A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legtöbb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anyag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előállítási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költsége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nő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: </a:t>
            </a:r>
            <a:endParaRPr lang="en-US" sz="1800" kern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37845" lvl="1" indent="-271145">
              <a:lnSpc>
                <a:spcPts val="2500"/>
              </a:lnSpc>
            </a:pPr>
            <a:r>
              <a:rPr lang="en-US" sz="16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Foszforsav</a:t>
            </a:r>
            <a:r>
              <a:rPr lang="en-US" sz="16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(MCP, DCP); </a:t>
            </a:r>
            <a:r>
              <a:rPr lang="en-US" sz="16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Mangán</a:t>
            </a:r>
            <a:r>
              <a:rPr lang="en-US" sz="16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6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érc</a:t>
            </a:r>
            <a:r>
              <a:rPr lang="en-US" sz="16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(</a:t>
            </a:r>
            <a:r>
              <a:rPr lang="en-US" sz="16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MnO</a:t>
            </a:r>
            <a:r>
              <a:rPr lang="en-US" sz="16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, MnSO4)</a:t>
            </a:r>
            <a:endParaRPr lang="en-US" sz="1600" kern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37845" lvl="1" indent="-271145">
              <a:lnSpc>
                <a:spcPts val="2500"/>
              </a:lnSpc>
            </a:pPr>
            <a:r>
              <a:rPr lang="en-US" sz="16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Energia</a:t>
            </a:r>
            <a:r>
              <a:rPr lang="en-US" sz="16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(</a:t>
            </a:r>
            <a:r>
              <a:rPr lang="en-US" sz="16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általános</a:t>
            </a:r>
            <a:r>
              <a:rPr lang="en-US" sz="16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, </a:t>
            </a:r>
            <a:r>
              <a:rPr lang="en-US" sz="16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legnagyobb</a:t>
            </a:r>
            <a:r>
              <a:rPr lang="en-US" sz="16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6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mértékben</a:t>
            </a:r>
            <a:r>
              <a:rPr lang="en-US" sz="16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MgO, FeSO4, </a:t>
            </a:r>
            <a:r>
              <a:rPr lang="en-US" sz="16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SoBi</a:t>
            </a:r>
            <a:r>
              <a:rPr lang="en-US" sz="16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, SiO2)</a:t>
            </a:r>
          </a:p>
          <a:p>
            <a:pPr marL="537845" lvl="1" indent="-271145">
              <a:lnSpc>
                <a:spcPts val="2500"/>
              </a:lnSpc>
            </a:pPr>
            <a:r>
              <a:rPr lang="en-US" sz="16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r</a:t>
            </a:r>
            <a:r>
              <a:rPr lang="en-US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éz</a:t>
            </a:r>
            <a:r>
              <a:rPr lang="en-US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és a </a:t>
            </a:r>
            <a:r>
              <a:rPr lang="en-US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cink</a:t>
            </a:r>
            <a:r>
              <a:rPr lang="en-US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ára</a:t>
            </a:r>
            <a:r>
              <a:rPr lang="en-US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csökken</a:t>
            </a:r>
            <a:r>
              <a:rPr lang="en-US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: -20% vs Q2.</a:t>
            </a:r>
          </a:p>
          <a:p>
            <a:pPr marL="251460" indent="-251460">
              <a:lnSpc>
                <a:spcPts val="2500"/>
              </a:lnSpc>
              <a:buFont typeface="Wingdings" panose="020B0604020202020204" pitchFamily="34" charset="0"/>
              <a:buChar char="§"/>
            </a:pP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Kereslet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csökkent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hasonlóan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a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többi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takarmány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kiegészitőhöz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,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kivétel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KCl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– (RU, BY) és a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kolin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(EU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eredet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)</a:t>
            </a:r>
          </a:p>
          <a:p>
            <a:pPr marL="251460" indent="-251460">
              <a:lnSpc>
                <a:spcPts val="2500"/>
              </a:lnSpc>
              <a:buFont typeface="Wingdings" panose="020B0604020202020204" pitchFamily="34" charset="0"/>
              <a:buChar char="§"/>
            </a:pP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USD vs. EUR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árfolyam</a:t>
            </a:r>
            <a:endParaRPr lang="en-US" sz="1800" kern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n-lt"/>
              <a:cs typeface="+mn-lt"/>
            </a:endParaRPr>
          </a:p>
          <a:p>
            <a:pPr marL="251460" indent="-251460">
              <a:lnSpc>
                <a:spcPts val="2500"/>
              </a:lnSpc>
              <a:buFont typeface="Wingdings" panose="020B0604020202020204" pitchFamily="34" charset="0"/>
              <a:buChar char="§"/>
            </a:pP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Az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ellátás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biztonság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még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soha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nem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volt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olyan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fontos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, mint most</a:t>
            </a:r>
          </a:p>
          <a:p>
            <a:pPr marL="251460" indent="-251460">
              <a:lnSpc>
                <a:spcPts val="2500"/>
              </a:lnSpc>
              <a:buFont typeface="Wingdings" panose="020B0604020202020204" pitchFamily="34" charset="0"/>
              <a:buChar char="§"/>
            </a:pP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Az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alapanyagok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elérhetősége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és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ára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befolyásolja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a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receptúrázást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(pl.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foszfor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/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fitáz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)</a:t>
            </a:r>
          </a:p>
          <a:p>
            <a:pPr marL="251460" indent="-251460">
              <a:lnSpc>
                <a:spcPts val="2500"/>
              </a:lnSpc>
              <a:buFont typeface="Wingdings" panose="020B0604020202020204" pitchFamily="34" charset="0"/>
              <a:buChar char="§"/>
            </a:pP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Az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energia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és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fuvarköltségek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magasak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maradnak</a:t>
            </a:r>
            <a:endParaRPr lang="en-US" sz="1800" kern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n-lt"/>
              <a:cs typeface="+mn-lt"/>
            </a:endParaRPr>
          </a:p>
          <a:p>
            <a:pPr marL="251460" indent="-251460">
              <a:lnSpc>
                <a:spcPts val="2500"/>
              </a:lnSpc>
              <a:buFont typeface="Wingdings" panose="020B0604020202020204" pitchFamily="34" charset="0"/>
              <a:buChar char="§"/>
            </a:pP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Helyi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források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(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mész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,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só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,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vivőanyag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) -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karbon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lábnyom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 (</a:t>
            </a:r>
            <a:r>
              <a:rPr lang="en-US" sz="1800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mikor</a:t>
            </a:r>
            <a:r>
              <a:rPr lang="en-US" sz="1800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+mn-lt"/>
                <a:cs typeface="+mn-lt"/>
              </a:rPr>
              <a:t>?)</a:t>
            </a:r>
          </a:p>
          <a:p>
            <a:pPr marL="0" indent="0">
              <a:lnSpc>
                <a:spcPts val="2500"/>
              </a:lnSpc>
              <a:buNone/>
            </a:pPr>
            <a:endParaRPr lang="en-US" kern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51460" indent="-251460">
              <a:lnSpc>
                <a:spcPts val="2500"/>
              </a:lnSpc>
            </a:pPr>
            <a:r>
              <a:rPr lang="en-US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“</a:t>
            </a:r>
            <a:r>
              <a:rPr lang="en-US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Új</a:t>
            </a:r>
            <a:r>
              <a:rPr lang="en-US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zempontok</a:t>
            </a:r>
            <a:r>
              <a:rPr lang="en-US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”: </a:t>
            </a:r>
            <a:endParaRPr lang="en-US" sz="2400" kern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537845" lvl="1" indent="-271145">
              <a:lnSpc>
                <a:spcPts val="2500"/>
              </a:lnSpc>
            </a:pPr>
            <a:r>
              <a:rPr lang="en-US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Karbon </a:t>
            </a:r>
            <a:r>
              <a:rPr lang="en-US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ábnyom</a:t>
            </a:r>
            <a:r>
              <a:rPr lang="en-US" kern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kern="140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igyelése</a:t>
            </a:r>
            <a:endParaRPr lang="en-US" kern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>
              <a:buNone/>
            </a:pPr>
            <a:endParaRPr lang="en-US" sz="1800" dirty="0">
              <a:ea typeface="+mn-lt"/>
              <a:cs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C18FBE6-3FFE-4FAC-B3ED-469A815ECE68}"/>
              </a:ext>
            </a:extLst>
          </p:cNvPr>
          <p:cNvSpPr/>
          <p:nvPr/>
        </p:nvSpPr>
        <p:spPr>
          <a:xfrm>
            <a:off x="10825018" y="0"/>
            <a:ext cx="1366982" cy="2084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33247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E5D59DA7-0A4A-CB47-A519-9F8E91CA2A7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138" t="4992" r="45258" b="3617"/>
          <a:stretch/>
        </p:blipFill>
        <p:spPr>
          <a:xfrm>
            <a:off x="0" y="0"/>
            <a:ext cx="4014788" cy="6858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CC87F24E-5FB5-1B40-A18A-54A73A43407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5614" t="4305" r="36813" b="4305"/>
          <a:stretch/>
        </p:blipFill>
        <p:spPr>
          <a:xfrm>
            <a:off x="4014788" y="0"/>
            <a:ext cx="4014789" cy="6858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9BC1F414-2294-A64E-B70A-22EF8E42150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3239" t="11930" r="43444" b="8007"/>
          <a:stretch/>
        </p:blipFill>
        <p:spPr>
          <a:xfrm>
            <a:off x="8029577" y="-6693"/>
            <a:ext cx="4166486" cy="6864693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8E02E9C0-58D8-554D-ADDA-5C8DFDF5E4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18668" y="2869389"/>
            <a:ext cx="2013528" cy="713125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44B1287-3271-F645-9858-D2FCC22D21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403879" y="2869389"/>
            <a:ext cx="2810549" cy="1132609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6CE56AD-DFFD-8940-8FB5-051C3A14353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82957" y="2869389"/>
            <a:ext cx="2013528" cy="713125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F145678-9289-C541-A573-79D22E14983D}"/>
              </a:ext>
            </a:extLst>
          </p:cNvPr>
          <p:cNvSpPr txBox="1">
            <a:spLocks/>
          </p:cNvSpPr>
          <p:nvPr/>
        </p:nvSpPr>
        <p:spPr bwMode="white">
          <a:xfrm>
            <a:off x="382957" y="4499811"/>
            <a:ext cx="3510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Light" panose="020B0403050000020004" pitchFamily="34" charset="0"/>
                <a:ea typeface="+mn-ea"/>
                <a:cs typeface="+mn-cs"/>
              </a:rPr>
              <a:t>A kiegyensúlyozott fejlődésér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 Light" panose="020B0403050000020004" pitchFamily="34" charset="0"/>
              <a:ea typeface="+mn-ea"/>
              <a:cs typeface="+mn-cs"/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3CC9BE0D-D7CC-8940-AAE7-55190A4B0F1E}"/>
              </a:ext>
            </a:extLst>
          </p:cNvPr>
          <p:cNvSpPr txBox="1">
            <a:spLocks/>
          </p:cNvSpPr>
          <p:nvPr/>
        </p:nvSpPr>
        <p:spPr bwMode="white">
          <a:xfrm>
            <a:off x="4397745" y="4499810"/>
            <a:ext cx="3510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Light" panose="020B0403050000020004" pitchFamily="34" charset="0"/>
                <a:ea typeface="+mn-ea"/>
                <a:cs typeface="+mn-cs"/>
              </a:rPr>
              <a:t>Az előremutató megoldásokér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 Light" panose="020B0403050000020004" pitchFamily="34" charset="0"/>
              <a:ea typeface="+mn-ea"/>
              <a:cs typeface="+mn-cs"/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B3F8331-5E50-5146-BB0B-3735DFAD3504}"/>
              </a:ext>
            </a:extLst>
          </p:cNvPr>
          <p:cNvSpPr txBox="1">
            <a:spLocks/>
          </p:cNvSpPr>
          <p:nvPr/>
        </p:nvSpPr>
        <p:spPr bwMode="white">
          <a:xfrm>
            <a:off x="8533416" y="4499809"/>
            <a:ext cx="3510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hu-HU" sz="2000" dirty="0">
                <a:solidFill>
                  <a:srgbClr val="FFFFFF"/>
                </a:solidFill>
                <a:latin typeface="Fira Sans Light" panose="020B0403050000020004" pitchFamily="34" charset="0"/>
              </a:rPr>
              <a:t>A célzott információkér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 Light" panose="020B040305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14581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E125F3-8AF6-AE47-993B-C00610A5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C87F24E-5FB5-1B40-A18A-54A73A43407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5614" t="4305" r="36813" b="430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44B1287-3271-F645-9858-D2FCC22D213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03879" y="2869389"/>
            <a:ext cx="2810549" cy="1132609"/>
          </a:xfrm>
          <a:prstGeom prst="rect">
            <a:avLst/>
          </a:prstGeom>
        </p:spPr>
      </p:pic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3CC9BE0D-D7CC-8940-AAE7-55190A4B0F1E}"/>
              </a:ext>
            </a:extLst>
          </p:cNvPr>
          <p:cNvSpPr txBox="1">
            <a:spLocks/>
          </p:cNvSpPr>
          <p:nvPr/>
        </p:nvSpPr>
        <p:spPr bwMode="white">
          <a:xfrm>
            <a:off x="4397745" y="4499810"/>
            <a:ext cx="3510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Light" panose="020B0403050000020004" pitchFamily="34" charset="0"/>
                <a:ea typeface="+mn-ea"/>
                <a:cs typeface="+mn-cs"/>
              </a:rPr>
              <a:t>Az előremutató megoldásokér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 Light" panose="020B040305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859412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AEF3C7-63C7-4A9A-8AE5-F2A1EA00B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315" y="165100"/>
            <a:ext cx="10248486" cy="1325563"/>
          </a:xfrm>
        </p:spPr>
        <p:txBody>
          <a:bodyPr/>
          <a:lstStyle/>
          <a:p>
            <a:r>
              <a:rPr lang="hu-HU" b="1" dirty="0">
                <a:solidFill>
                  <a:srgbClr val="00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FORMANCE PORTFOLIO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700016B-763B-478A-A5AF-78EE8C265874}"/>
              </a:ext>
            </a:extLst>
          </p:cNvPr>
          <p:cNvSpPr/>
          <p:nvPr/>
        </p:nvSpPr>
        <p:spPr>
          <a:xfrm>
            <a:off x="10825018" y="0"/>
            <a:ext cx="1366982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pic>
        <p:nvPicPr>
          <p:cNvPr id="29" name="Picture 28" descr="A picture containing cow, mammal, standing, brown&#10;&#10;Description automatically generated">
            <a:extLst>
              <a:ext uri="{FF2B5EF4-FFF2-40B4-BE49-F238E27FC236}">
                <a16:creationId xmlns:a16="http://schemas.microsoft.com/office/drawing/2014/main" id="{EEC2502F-0E41-42F4-9704-CD0A3E2576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2460" y="0"/>
            <a:ext cx="2346049" cy="148273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7827AC2-C2B2-46B9-831E-40CF4D07AA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255" y="1490663"/>
            <a:ext cx="10871254" cy="508958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440D703B-49AF-4596-8BE6-2223DDDF5CEA}"/>
              </a:ext>
            </a:extLst>
          </p:cNvPr>
          <p:cNvSpPr txBox="1"/>
          <p:nvPr/>
        </p:nvSpPr>
        <p:spPr>
          <a:xfrm>
            <a:off x="2979995" y="2846043"/>
            <a:ext cx="1909011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hu-HU" sz="1400" b="1" i="0" u="none" strike="noStrike" baseline="0" dirty="0">
                <a:solidFill>
                  <a:srgbClr val="C00000"/>
                </a:solidFill>
                <a:latin typeface="Fira Sans" panose="020B0503050000020004" pitchFamily="34" charset="0"/>
              </a:rPr>
              <a:t>AZ ÁLLATOK </a:t>
            </a:r>
            <a:endParaRPr lang="hu-HU" sz="1400" b="0" i="0" u="none" strike="noStrike" baseline="0" dirty="0">
              <a:solidFill>
                <a:srgbClr val="C00000"/>
              </a:solidFill>
              <a:latin typeface="Fira Sans" panose="020B0503050000020004" pitchFamily="34" charset="0"/>
            </a:endParaRPr>
          </a:p>
          <a:p>
            <a:pPr algn="ctr"/>
            <a:r>
              <a:rPr lang="hu-HU" sz="1400" b="1" i="0" u="none" strike="noStrike" baseline="0" dirty="0">
                <a:solidFill>
                  <a:srgbClr val="C00000"/>
                </a:solidFill>
                <a:latin typeface="Fira Sans" panose="020B0503050000020004" pitchFamily="34" charset="0"/>
              </a:rPr>
              <a:t>EGÉSZSÉGÉNEK </a:t>
            </a:r>
            <a:endParaRPr lang="hu-HU" sz="1400" b="0" i="0" u="none" strike="noStrike" baseline="0" dirty="0">
              <a:solidFill>
                <a:srgbClr val="C00000"/>
              </a:solidFill>
              <a:latin typeface="Fira Sans" panose="020B0503050000020004" pitchFamily="34" charset="0"/>
            </a:endParaRPr>
          </a:p>
          <a:p>
            <a:pPr algn="ctr"/>
            <a:r>
              <a:rPr lang="hu-HU" sz="1400" b="1" i="0" u="none" strike="noStrike" baseline="0" dirty="0">
                <a:solidFill>
                  <a:srgbClr val="C00000"/>
                </a:solidFill>
                <a:latin typeface="Fira Sans" panose="020B0503050000020004" pitchFamily="34" charset="0"/>
              </a:rPr>
              <a:t>TÁMOGATÁSA</a:t>
            </a:r>
            <a:endParaRPr lang="hu-HU" sz="1400" dirty="0">
              <a:solidFill>
                <a:srgbClr val="C00000"/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726B0ABE-B79C-48DB-A138-018754D74A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72453" y="4611756"/>
            <a:ext cx="997864" cy="244985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328E719-8BA9-4B14-B389-93BE5CFAEA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9641" y="6166712"/>
            <a:ext cx="1036663" cy="25451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316953A3-2139-471E-B40F-564F844A84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2679" y="4856741"/>
            <a:ext cx="997864" cy="244985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7DABF57F-C093-4061-B21A-6C278A70D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7584" y="5738191"/>
            <a:ext cx="997864" cy="244985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120199FD-D7C9-4850-A8CD-EF266F2993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1669" y="5079488"/>
            <a:ext cx="885435" cy="194796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B70D9B0C-610F-45A3-B7F3-7CACDC3939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5000" y="4831803"/>
            <a:ext cx="722097" cy="204071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0B09B472-8B2A-433F-B5CE-3E4A19F264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18645" y="5957332"/>
            <a:ext cx="696694" cy="36376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BAA5E74-941F-4621-9914-C86985FCAA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62269" y="6381056"/>
            <a:ext cx="871839" cy="208645"/>
          </a:xfrm>
          <a:prstGeom prst="rect">
            <a:avLst/>
          </a:prstGeom>
        </p:spPr>
      </p:pic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49A077D6-47C2-46FA-AF95-F42893871F7D}"/>
              </a:ext>
            </a:extLst>
          </p:cNvPr>
          <p:cNvSpPr/>
          <p:nvPr/>
        </p:nvSpPr>
        <p:spPr>
          <a:xfrm>
            <a:off x="720659" y="4184374"/>
            <a:ext cx="2053827" cy="1282148"/>
          </a:xfrm>
          <a:prstGeom prst="roundRect">
            <a:avLst/>
          </a:prstGeom>
          <a:noFill/>
          <a:ln w="38100">
            <a:solidFill>
              <a:srgbClr val="C00000"/>
            </a:solidFill>
            <a:extLst>
              <a:ext uri="{C807C97D-BFC1-408E-A445-0C87EB9F89A2}">
                <ask:lineSketchStyleProps xmlns:ask="http://schemas.microsoft.com/office/drawing/2018/sketchyshapes" sd="1772922437">
                  <a:custGeom>
                    <a:avLst/>
                    <a:gdLst>
                      <a:gd name="connsiteX0" fmla="*/ 0 w 2053827"/>
                      <a:gd name="connsiteY0" fmla="*/ 213696 h 1282148"/>
                      <a:gd name="connsiteX1" fmla="*/ 213696 w 2053827"/>
                      <a:gd name="connsiteY1" fmla="*/ 0 h 1282148"/>
                      <a:gd name="connsiteX2" fmla="*/ 1840131 w 2053827"/>
                      <a:gd name="connsiteY2" fmla="*/ 0 h 1282148"/>
                      <a:gd name="connsiteX3" fmla="*/ 2053827 w 2053827"/>
                      <a:gd name="connsiteY3" fmla="*/ 213696 h 1282148"/>
                      <a:gd name="connsiteX4" fmla="*/ 2053827 w 2053827"/>
                      <a:gd name="connsiteY4" fmla="*/ 1068452 h 1282148"/>
                      <a:gd name="connsiteX5" fmla="*/ 1840131 w 2053827"/>
                      <a:gd name="connsiteY5" fmla="*/ 1282148 h 1282148"/>
                      <a:gd name="connsiteX6" fmla="*/ 213696 w 2053827"/>
                      <a:gd name="connsiteY6" fmla="*/ 1282148 h 1282148"/>
                      <a:gd name="connsiteX7" fmla="*/ 0 w 2053827"/>
                      <a:gd name="connsiteY7" fmla="*/ 1068452 h 1282148"/>
                      <a:gd name="connsiteX8" fmla="*/ 0 w 2053827"/>
                      <a:gd name="connsiteY8" fmla="*/ 213696 h 12821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053827" h="1282148" extrusionOk="0">
                        <a:moveTo>
                          <a:pt x="0" y="213696"/>
                        </a:moveTo>
                        <a:cubicBezTo>
                          <a:pt x="-14110" y="106904"/>
                          <a:pt x="101073" y="8509"/>
                          <a:pt x="213696" y="0"/>
                        </a:cubicBezTo>
                        <a:cubicBezTo>
                          <a:pt x="660173" y="47414"/>
                          <a:pt x="1213630" y="18843"/>
                          <a:pt x="1840131" y="0"/>
                        </a:cubicBezTo>
                        <a:cubicBezTo>
                          <a:pt x="1955959" y="1758"/>
                          <a:pt x="2044678" y="77876"/>
                          <a:pt x="2053827" y="213696"/>
                        </a:cubicBezTo>
                        <a:cubicBezTo>
                          <a:pt x="2002165" y="409733"/>
                          <a:pt x="1985723" y="899680"/>
                          <a:pt x="2053827" y="1068452"/>
                        </a:cubicBezTo>
                        <a:cubicBezTo>
                          <a:pt x="2054796" y="1187591"/>
                          <a:pt x="1973283" y="1281328"/>
                          <a:pt x="1840131" y="1282148"/>
                        </a:cubicBezTo>
                        <a:cubicBezTo>
                          <a:pt x="1594893" y="1297945"/>
                          <a:pt x="658452" y="1166352"/>
                          <a:pt x="213696" y="1282148"/>
                        </a:cubicBezTo>
                        <a:cubicBezTo>
                          <a:pt x="100381" y="1282685"/>
                          <a:pt x="4865" y="1188743"/>
                          <a:pt x="0" y="1068452"/>
                        </a:cubicBezTo>
                        <a:cubicBezTo>
                          <a:pt x="772" y="744626"/>
                          <a:pt x="-39740" y="528038"/>
                          <a:pt x="0" y="213696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37590418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67680236-AF31-4A4C-9961-ED1B0B35797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9925" y="457964"/>
            <a:ext cx="6641222" cy="384527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35DE46DB-ACC0-4A58-803E-58E80A9E6C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5693" y="1556107"/>
            <a:ext cx="6491788" cy="3745785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68521F7-F8C9-4506-B771-0FCAFDC04220}"/>
              </a:ext>
            </a:extLst>
          </p:cNvPr>
          <p:cNvSpPr txBox="1"/>
          <p:nvPr/>
        </p:nvSpPr>
        <p:spPr>
          <a:xfrm rot="2102475">
            <a:off x="8616565" y="1138390"/>
            <a:ext cx="359170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hu-HU" sz="3200" dirty="0">
                <a:solidFill>
                  <a:srgbClr val="C00000"/>
                </a:solidFill>
              </a:rPr>
              <a:t>A </a:t>
            </a:r>
            <a:r>
              <a:rPr lang="en-US" sz="3200" dirty="0">
                <a:solidFill>
                  <a:srgbClr val="C00000"/>
                </a:solidFill>
              </a:rPr>
              <a:t>MÁTRIX ÉRTÉKEK</a:t>
            </a:r>
          </a:p>
          <a:p>
            <a:pPr algn="l"/>
            <a:r>
              <a:rPr lang="en-US" sz="3200" dirty="0" err="1">
                <a:solidFill>
                  <a:srgbClr val="C00000"/>
                </a:solidFill>
              </a:rPr>
              <a:t>Nyilvános</a:t>
            </a:r>
            <a:r>
              <a:rPr lang="en-US" sz="3200" dirty="0">
                <a:solidFill>
                  <a:srgbClr val="C00000"/>
                </a:solidFill>
              </a:rPr>
              <a:t> </a:t>
            </a:r>
            <a:r>
              <a:rPr lang="en-US" sz="3200" dirty="0" err="1">
                <a:solidFill>
                  <a:srgbClr val="C00000"/>
                </a:solidFill>
              </a:rPr>
              <a:t>anyagok</a:t>
            </a:r>
            <a:endParaRPr lang="en-US" sz="3200" dirty="0">
              <a:solidFill>
                <a:srgbClr val="C00000"/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C28609F-292D-47EA-BAD7-FB0B6B3008D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00028" y="2751530"/>
            <a:ext cx="5772141" cy="333911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034F893-9147-414B-B947-816F095E3FFA}"/>
              </a:ext>
            </a:extLst>
          </p:cNvPr>
          <p:cNvSpPr/>
          <p:nvPr/>
        </p:nvSpPr>
        <p:spPr>
          <a:xfrm>
            <a:off x="10825018" y="0"/>
            <a:ext cx="1366982" cy="2084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pic>
        <p:nvPicPr>
          <p:cNvPr id="103426" name="Picture 2" descr="DSM-Novozymes Alliance launches its new generation phytase, HiPhorius™">
            <a:extLst>
              <a:ext uri="{FF2B5EF4-FFF2-40B4-BE49-F238E27FC236}">
                <a16:creationId xmlns:a16="http://schemas.microsoft.com/office/drawing/2014/main" id="{36CFA6E9-BB3A-4A80-BD11-72AE1F9AEC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925" y="457963"/>
            <a:ext cx="5111293" cy="4044841"/>
          </a:xfrm>
          <a:prstGeom prst="rect">
            <a:avLst/>
          </a:prstGeom>
          <a:noFill/>
          <a:effectLst>
            <a:glow rad="101600">
              <a:schemeClr val="accent2">
                <a:satMod val="175000"/>
                <a:alpha val="40000"/>
              </a:schemeClr>
            </a:glow>
            <a:softEdge rad="762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28" name="Picture 4" descr="DSM-Novozymes Alliance launches its second-generation protease, ProAct 360™">
            <a:extLst>
              <a:ext uri="{FF2B5EF4-FFF2-40B4-BE49-F238E27FC236}">
                <a16:creationId xmlns:a16="http://schemas.microsoft.com/office/drawing/2014/main" id="{0B147358-69BF-458F-B7EE-7E4CA3F03B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3775" y="2395976"/>
            <a:ext cx="5338041" cy="4224278"/>
          </a:xfrm>
          <a:prstGeom prst="rect">
            <a:avLst/>
          </a:prstGeom>
          <a:noFill/>
          <a:effectLst>
            <a:glow rad="139700">
              <a:schemeClr val="accent4">
                <a:satMod val="175000"/>
                <a:alpha val="40000"/>
              </a:schemeClr>
            </a:glow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00251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034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034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AEF3C7-63C7-4A9A-8AE5-F2A1EA00B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315" y="165100"/>
            <a:ext cx="10248486" cy="1325563"/>
          </a:xfrm>
        </p:spPr>
        <p:txBody>
          <a:bodyPr/>
          <a:lstStyle/>
          <a:p>
            <a:r>
              <a:rPr lang="hu-HU" b="1" dirty="0">
                <a:solidFill>
                  <a:srgbClr val="00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FORMANCE PORTFOLIO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700016B-763B-478A-A5AF-78EE8C265874}"/>
              </a:ext>
            </a:extLst>
          </p:cNvPr>
          <p:cNvSpPr/>
          <p:nvPr/>
        </p:nvSpPr>
        <p:spPr>
          <a:xfrm>
            <a:off x="10825018" y="0"/>
            <a:ext cx="1366982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pic>
        <p:nvPicPr>
          <p:cNvPr id="29" name="Picture 28" descr="A picture containing cow, mammal, standing, brown&#10;&#10;Description automatically generated">
            <a:extLst>
              <a:ext uri="{FF2B5EF4-FFF2-40B4-BE49-F238E27FC236}">
                <a16:creationId xmlns:a16="http://schemas.microsoft.com/office/drawing/2014/main" id="{EEC2502F-0E41-42F4-9704-CD0A3E2576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2460" y="0"/>
            <a:ext cx="2346049" cy="148273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7827AC2-C2B2-46B9-831E-40CF4D07AA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255" y="1490663"/>
            <a:ext cx="10871254" cy="508958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440D703B-49AF-4596-8BE6-2223DDDF5CEA}"/>
              </a:ext>
            </a:extLst>
          </p:cNvPr>
          <p:cNvSpPr txBox="1"/>
          <p:nvPr/>
        </p:nvSpPr>
        <p:spPr>
          <a:xfrm>
            <a:off x="2979995" y="2846043"/>
            <a:ext cx="1909011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hu-HU" sz="1400" b="1" i="0" u="none" strike="noStrike" baseline="0" dirty="0">
                <a:solidFill>
                  <a:srgbClr val="C00000"/>
                </a:solidFill>
                <a:latin typeface="Fira Sans" panose="020B0503050000020004" pitchFamily="34" charset="0"/>
              </a:rPr>
              <a:t>AZ ÁLLATOK </a:t>
            </a:r>
            <a:endParaRPr lang="hu-HU" sz="1400" b="0" i="0" u="none" strike="noStrike" baseline="0" dirty="0">
              <a:solidFill>
                <a:srgbClr val="C00000"/>
              </a:solidFill>
              <a:latin typeface="Fira Sans" panose="020B0503050000020004" pitchFamily="34" charset="0"/>
            </a:endParaRPr>
          </a:p>
          <a:p>
            <a:pPr algn="ctr"/>
            <a:r>
              <a:rPr lang="hu-HU" sz="1400" b="1" i="0" u="none" strike="noStrike" baseline="0" dirty="0">
                <a:solidFill>
                  <a:srgbClr val="C00000"/>
                </a:solidFill>
                <a:latin typeface="Fira Sans" panose="020B0503050000020004" pitchFamily="34" charset="0"/>
              </a:rPr>
              <a:t>EGÉSZSÉGÉNEK </a:t>
            </a:r>
            <a:endParaRPr lang="hu-HU" sz="1400" b="0" i="0" u="none" strike="noStrike" baseline="0" dirty="0">
              <a:solidFill>
                <a:srgbClr val="C00000"/>
              </a:solidFill>
              <a:latin typeface="Fira Sans" panose="020B0503050000020004" pitchFamily="34" charset="0"/>
            </a:endParaRPr>
          </a:p>
          <a:p>
            <a:pPr algn="ctr"/>
            <a:r>
              <a:rPr lang="hu-HU" sz="1400" b="1" i="0" u="none" strike="noStrike" baseline="0" dirty="0">
                <a:solidFill>
                  <a:srgbClr val="C00000"/>
                </a:solidFill>
                <a:latin typeface="Fira Sans" panose="020B0503050000020004" pitchFamily="34" charset="0"/>
              </a:rPr>
              <a:t>TÁMOGATÁSA</a:t>
            </a:r>
            <a:endParaRPr lang="hu-HU" sz="1400" dirty="0">
              <a:solidFill>
                <a:srgbClr val="C00000"/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726B0ABE-B79C-48DB-A138-018754D74A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72453" y="4611756"/>
            <a:ext cx="997864" cy="244985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328E719-8BA9-4B14-B389-93BE5CFAEA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9641" y="6166712"/>
            <a:ext cx="1036663" cy="25451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316953A3-2139-471E-B40F-564F844A84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2679" y="4856741"/>
            <a:ext cx="997864" cy="244985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7DABF57F-C093-4061-B21A-6C278A70D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7584" y="5738191"/>
            <a:ext cx="997864" cy="244985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120199FD-D7C9-4850-A8CD-EF266F2993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1669" y="5079488"/>
            <a:ext cx="885435" cy="194796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B70D9B0C-610F-45A3-B7F3-7CACDC3939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5000" y="4831803"/>
            <a:ext cx="722097" cy="204071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0B09B472-8B2A-433F-B5CE-3E4A19F264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18645" y="5957332"/>
            <a:ext cx="696694" cy="36376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BAA5E74-941F-4621-9914-C86985FCAA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62269" y="6381056"/>
            <a:ext cx="871839" cy="208645"/>
          </a:xfrm>
          <a:prstGeom prst="rect">
            <a:avLst/>
          </a:prstGeom>
        </p:spPr>
      </p:pic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49A077D6-47C2-46FA-AF95-F42893871F7D}"/>
              </a:ext>
            </a:extLst>
          </p:cNvPr>
          <p:cNvSpPr/>
          <p:nvPr/>
        </p:nvSpPr>
        <p:spPr>
          <a:xfrm>
            <a:off x="1103999" y="5863996"/>
            <a:ext cx="1227946" cy="440091"/>
          </a:xfrm>
          <a:prstGeom prst="roundRect">
            <a:avLst/>
          </a:prstGeom>
          <a:noFill/>
          <a:ln w="38100">
            <a:solidFill>
              <a:srgbClr val="C00000"/>
            </a:solidFill>
            <a:extLst>
              <a:ext uri="{C807C97D-BFC1-408E-A445-0C87EB9F89A2}">
                <ask:lineSketchStyleProps xmlns:ask="http://schemas.microsoft.com/office/drawing/2018/sketchyshapes" sd="1772922437">
                  <a:custGeom>
                    <a:avLst/>
                    <a:gdLst>
                      <a:gd name="connsiteX0" fmla="*/ 0 w 1227946"/>
                      <a:gd name="connsiteY0" fmla="*/ 73350 h 440091"/>
                      <a:gd name="connsiteX1" fmla="*/ 73350 w 1227946"/>
                      <a:gd name="connsiteY1" fmla="*/ 0 h 440091"/>
                      <a:gd name="connsiteX2" fmla="*/ 1154596 w 1227946"/>
                      <a:gd name="connsiteY2" fmla="*/ 0 h 440091"/>
                      <a:gd name="connsiteX3" fmla="*/ 1227946 w 1227946"/>
                      <a:gd name="connsiteY3" fmla="*/ 73350 h 440091"/>
                      <a:gd name="connsiteX4" fmla="*/ 1227946 w 1227946"/>
                      <a:gd name="connsiteY4" fmla="*/ 366741 h 440091"/>
                      <a:gd name="connsiteX5" fmla="*/ 1154596 w 1227946"/>
                      <a:gd name="connsiteY5" fmla="*/ 440091 h 440091"/>
                      <a:gd name="connsiteX6" fmla="*/ 73350 w 1227946"/>
                      <a:gd name="connsiteY6" fmla="*/ 440091 h 440091"/>
                      <a:gd name="connsiteX7" fmla="*/ 0 w 1227946"/>
                      <a:gd name="connsiteY7" fmla="*/ 366741 h 440091"/>
                      <a:gd name="connsiteX8" fmla="*/ 0 w 1227946"/>
                      <a:gd name="connsiteY8" fmla="*/ 73350 h 4400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227946" h="440091" extrusionOk="0">
                        <a:moveTo>
                          <a:pt x="0" y="73350"/>
                        </a:moveTo>
                        <a:cubicBezTo>
                          <a:pt x="-977" y="33617"/>
                          <a:pt x="33334" y="779"/>
                          <a:pt x="73350" y="0"/>
                        </a:cubicBezTo>
                        <a:cubicBezTo>
                          <a:pt x="426819" y="-65637"/>
                          <a:pt x="1041153" y="90092"/>
                          <a:pt x="1154596" y="0"/>
                        </a:cubicBezTo>
                        <a:cubicBezTo>
                          <a:pt x="1189597" y="4416"/>
                          <a:pt x="1225322" y="27735"/>
                          <a:pt x="1227946" y="73350"/>
                        </a:cubicBezTo>
                        <a:cubicBezTo>
                          <a:pt x="1226002" y="182677"/>
                          <a:pt x="1247421" y="299358"/>
                          <a:pt x="1227946" y="366741"/>
                        </a:cubicBezTo>
                        <a:cubicBezTo>
                          <a:pt x="1230555" y="410262"/>
                          <a:pt x="1197146" y="439980"/>
                          <a:pt x="1154596" y="440091"/>
                        </a:cubicBezTo>
                        <a:cubicBezTo>
                          <a:pt x="635214" y="482634"/>
                          <a:pt x="577501" y="391614"/>
                          <a:pt x="73350" y="440091"/>
                        </a:cubicBezTo>
                        <a:cubicBezTo>
                          <a:pt x="34232" y="440250"/>
                          <a:pt x="5289" y="409718"/>
                          <a:pt x="0" y="366741"/>
                        </a:cubicBezTo>
                        <a:cubicBezTo>
                          <a:pt x="1749" y="333564"/>
                          <a:pt x="-11714" y="178135"/>
                          <a:pt x="0" y="7335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0228627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758" y="301746"/>
            <a:ext cx="11574484" cy="387798"/>
          </a:xfrm>
        </p:spPr>
        <p:txBody>
          <a:bodyPr/>
          <a:lstStyle/>
          <a:p>
            <a:r>
              <a:rPr lang="hu-HU" dirty="0"/>
              <a:t>Alapanyag mikotoxin szintek Közép-európában</a:t>
            </a:r>
            <a:r>
              <a:rPr dirty="0"/>
              <a:t> 2022</a:t>
            </a:r>
            <a:r>
              <a:rPr lang="hu-HU" dirty="0"/>
              <a:t>-ben</a:t>
            </a:r>
            <a:endParaRPr dirty="0"/>
          </a:p>
        </p:txBody>
      </p:sp>
      <p:pic>
        <p:nvPicPr>
          <p:cNvPr id="3" name="Content Placeholder 2"/>
          <p:cNvPicPr>
            <a:picLocks noGrp="1"/>
          </p:cNvPicPr>
          <p:nvPr>
            <p:ph/>
          </p:nvPr>
        </p:nvPicPr>
        <p:blipFill>
          <a:blip r:embed="rId2" cstate="print"/>
          <a:stretch>
            <a:fillRect/>
          </a:stretch>
        </p:blipFill>
        <p:spPr>
          <a:xfrm>
            <a:off x="262800" y="3063240"/>
            <a:ext cx="6678000" cy="2952000"/>
          </a:xfrm>
          <a:prstGeom prst="rect">
            <a:avLst/>
          </a:prstGeom>
        </p:spPr>
      </p:pic>
      <p:pic>
        <p:nvPicPr>
          <p:cNvPr id="4" name="Content Placeholder 3"/>
          <p:cNvPicPr>
            <a:picLocks noGrp="1"/>
          </p:cNvPicPr>
          <p:nvPr>
            <p:ph/>
          </p:nvPr>
        </p:nvPicPr>
        <p:blipFill>
          <a:blip r:embed="rId3" cstate="print"/>
          <a:stretch>
            <a:fillRect/>
          </a:stretch>
        </p:blipFill>
        <p:spPr>
          <a:xfrm>
            <a:off x="7290000" y="3063240"/>
            <a:ext cx="4636800" cy="2952000"/>
          </a:xfrm>
          <a:prstGeom prst="rect">
            <a:avLst/>
          </a:prstGeom>
        </p:spPr>
      </p:pic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2203200" y="914400"/>
          <a:ext cx="8229600" cy="1600200"/>
        </p:xfrm>
        <a:graphic>
          <a:graphicData uri="http://schemas.openxmlformats.org/drawingml/2006/table">
            <a:tbl>
              <a:tblPr/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28600"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Parameter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007E4B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Afl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007E4B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ZE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007E4B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DO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007E4B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T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007E4B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 b="1" dirty="0">
                          <a:solidFill>
                            <a:srgbClr val="FFFFFF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FUM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007E4B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 b="1">
                          <a:solidFill>
                            <a:srgbClr val="FFFFFF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OT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007E4B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Number of sample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17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22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230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19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14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15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% Contaminated samples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5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6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2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45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 dirty="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% Above risk threshold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2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48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Average of positives (ppb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7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68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3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57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Median of positives (ppb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3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32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4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63500" marR="63500" algn="l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Maximum (ppb)</a:t>
                      </a:r>
                    </a:p>
                  </a:txBody>
                  <a:tcPr marL="0" marR="0" marT="0" marB="0" anchor="ctr">
                    <a:lnL w="0" cap="flat" cmpd="sng" algn="ctr">
                      <a:solidFill>
                        <a:srgbClr val="FFFFFF">
                          <a:alpha val="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2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4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2120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43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15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63500" marR="63500" algn="ctr">
                        <a:lnSpc>
                          <a:spcPct val="100000"/>
                        </a:lnSpc>
                        <a:spcBef>
                          <a:spcPts val="200"/>
                        </a:spcBef>
                        <a:spcAft>
                          <a:spcPts val="200"/>
                        </a:spcAft>
                        <a:buNone/>
                      </a:pPr>
                      <a:r>
                        <a:rPr sz="1300" dirty="0">
                          <a:solidFill>
                            <a:srgbClr val="111111">
                              <a:alpha val="100000"/>
                            </a:srgbClr>
                          </a:solidFill>
                          <a:latin typeface="Fira Sans"/>
                          <a:cs typeface="Fira Sans"/>
                        </a:rPr>
                        <a:t>10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L>
                    <a:lnR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R>
                    <a:lnT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T>
                    <a:lnB w="12700" cap="flat" cmpd="sng" algn="ctr">
                      <a:solidFill>
                        <a:srgbClr val="FFFFFF">
                          <a:alpha val="100000"/>
                        </a:srgbClr>
                      </a:solidFill>
                      <a:prstDash val="solid"/>
                    </a:lnB>
                    <a:solidFill>
                      <a:srgbClr val="F2F2F2">
                        <a:alpha val="10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68C8B0C9-AB0F-45BE-9A36-A7947BD22107}"/>
              </a:ext>
            </a:extLst>
          </p:cNvPr>
          <p:cNvSpPr/>
          <p:nvPr/>
        </p:nvSpPr>
        <p:spPr>
          <a:xfrm>
            <a:off x="10825018" y="0"/>
            <a:ext cx="1366982" cy="3017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B614D5E-1E79-4554-9072-A3E610F7EBE5}"/>
              </a:ext>
            </a:extLst>
          </p:cNvPr>
          <p:cNvSpPr txBox="1"/>
          <p:nvPr/>
        </p:nvSpPr>
        <p:spPr>
          <a:xfrm>
            <a:off x="1136073" y="2738583"/>
            <a:ext cx="42672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hu-HU" dirty="0"/>
              <a:t>Mikotoxinok jelenléte a mintákba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4EB42EE-2BA6-4657-BC7A-7CBA6753A663}"/>
              </a:ext>
            </a:extLst>
          </p:cNvPr>
          <p:cNvSpPr txBox="1"/>
          <p:nvPr/>
        </p:nvSpPr>
        <p:spPr>
          <a:xfrm>
            <a:off x="7906327" y="2738583"/>
            <a:ext cx="360218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hu-HU" dirty="0"/>
              <a:t>Mikotoxinok száma / minta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8758" y="301746"/>
            <a:ext cx="8170224" cy="612652"/>
          </a:xfrm>
        </p:spPr>
        <p:txBody>
          <a:bodyPr/>
          <a:lstStyle/>
          <a:p>
            <a:r>
              <a:rPr lang="hu-HU" dirty="0"/>
              <a:t>Mikotoxin trendek 2018 óta Közép-európában</a:t>
            </a:r>
            <a:endParaRPr dirty="0"/>
          </a:p>
        </p:txBody>
      </p:sp>
      <p:pic>
        <p:nvPicPr>
          <p:cNvPr id="3" name="Content Placeholder 2"/>
          <p:cNvPicPr>
            <a:picLocks noGrp="1"/>
          </p:cNvPicPr>
          <p:nvPr>
            <p:ph/>
          </p:nvPr>
        </p:nvPicPr>
        <p:blipFill>
          <a:blip r:embed="rId2" cstate="print"/>
          <a:stretch>
            <a:fillRect/>
          </a:stretch>
        </p:blipFill>
        <p:spPr>
          <a:xfrm>
            <a:off x="0" y="914399"/>
            <a:ext cx="12188952" cy="5163127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85BD5340-6661-4C03-B7AE-B160EFB4A7C6}"/>
              </a:ext>
            </a:extLst>
          </p:cNvPr>
          <p:cNvSpPr/>
          <p:nvPr/>
        </p:nvSpPr>
        <p:spPr>
          <a:xfrm>
            <a:off x="10825018" y="0"/>
            <a:ext cx="1366982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glass of water being poured into a glass&#10;&#10;Description automatically generated with low confidence">
            <a:extLst>
              <a:ext uri="{FF2B5EF4-FFF2-40B4-BE49-F238E27FC236}">
                <a16:creationId xmlns:a16="http://schemas.microsoft.com/office/drawing/2014/main" id="{5429FD73-78DC-44DE-9BCA-AD16161269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565" y="828352"/>
            <a:ext cx="3162984" cy="1398016"/>
          </a:xfrm>
          <a:prstGeom prst="rect">
            <a:avLst/>
          </a:prstGeom>
        </p:spPr>
      </p:pic>
      <p:pic>
        <p:nvPicPr>
          <p:cNvPr id="9" name="Picture 8" descr="A picture containing cow, sky, bovine, mammal&#10;&#10;Description automatically generated">
            <a:extLst>
              <a:ext uri="{FF2B5EF4-FFF2-40B4-BE49-F238E27FC236}">
                <a16:creationId xmlns:a16="http://schemas.microsoft.com/office/drawing/2014/main" id="{B33ACB45-FFED-4D3A-A94B-24ECF78E96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4726" y="849066"/>
            <a:ext cx="2062764" cy="137730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B99A5F0-5093-42C8-BAE4-E561713DFE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8758" y="301746"/>
            <a:ext cx="11574484" cy="387798"/>
          </a:xfrm>
        </p:spPr>
        <p:txBody>
          <a:bodyPr wrap="square" anchor="t">
            <a:normAutofit/>
          </a:bodyPr>
          <a:lstStyle/>
          <a:p>
            <a:r>
              <a:rPr lang="hu-HU" dirty="0"/>
              <a:t>Mikotoxin aktualitások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FEC7664E-C5CA-4ECA-B10D-F7388DC1BA79}"/>
              </a:ext>
            </a:extLst>
          </p:cNvPr>
          <p:cNvSpPr txBox="1">
            <a:spLocks/>
          </p:cNvSpPr>
          <p:nvPr/>
        </p:nvSpPr>
        <p:spPr>
          <a:xfrm>
            <a:off x="915280" y="1067724"/>
            <a:ext cx="5259964" cy="57902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>
                <a:solidFill>
                  <a:srgbClr val="007E4B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457200" indent="-4572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tx1"/>
                </a:solidFill>
                <a:latin typeface="+mn-lt"/>
              </a:rPr>
              <a:t>Aflatoxin veszély </a:t>
            </a:r>
          </a:p>
          <a:p>
            <a:r>
              <a:rPr lang="hu-HU" dirty="0">
                <a:solidFill>
                  <a:schemeClr val="tx1"/>
                </a:solidFill>
                <a:latin typeface="+mn-lt"/>
              </a:rPr>
              <a:t>	</a:t>
            </a:r>
            <a:r>
              <a:rPr lang="hu-HU" dirty="0">
                <a:solidFill>
                  <a:srgbClr val="00B0F0"/>
                </a:solidFill>
                <a:latin typeface="+mn-lt"/>
              </a:rPr>
              <a:t>(+ egyéb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hu-HU" dirty="0">
              <a:solidFill>
                <a:schemeClr val="tx1"/>
              </a:solidFill>
              <a:latin typeface="+mn-lt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hu-HU" dirty="0">
              <a:solidFill>
                <a:schemeClr val="tx1"/>
              </a:solidFill>
              <a:latin typeface="+mn-lt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tx1"/>
                </a:solidFill>
                <a:latin typeface="+mn-lt"/>
              </a:rPr>
              <a:t>Az 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EFSA </a:t>
            </a:r>
            <a:r>
              <a:rPr lang="hu-HU" dirty="0">
                <a:solidFill>
                  <a:schemeClr val="tx1"/>
                </a:solidFill>
                <a:latin typeface="+mn-lt"/>
              </a:rPr>
              <a:t>új tudományos álláspontja: 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FUM </a:t>
            </a:r>
            <a:r>
              <a:rPr lang="hu-HU" dirty="0">
                <a:solidFill>
                  <a:schemeClr val="tx1"/>
                </a:solidFill>
                <a:latin typeface="+mn-lt"/>
              </a:rPr>
              <a:t>sertésben, baromfiban</a:t>
            </a:r>
          </a:p>
          <a:p>
            <a:endParaRPr lang="hu-HU" dirty="0">
              <a:solidFill>
                <a:schemeClr val="tx1"/>
              </a:solidFill>
              <a:latin typeface="+mn-lt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dirty="0" err="1">
                <a:solidFill>
                  <a:schemeClr val="tx1"/>
                </a:solidFill>
                <a:latin typeface="+mn-lt"/>
              </a:rPr>
              <a:t>Új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 </a:t>
            </a:r>
            <a:r>
              <a:rPr lang="hu-HU" dirty="0">
                <a:solidFill>
                  <a:schemeClr val="tx1"/>
                </a:solidFill>
                <a:latin typeface="+mn-lt"/>
              </a:rPr>
              <a:t>információk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 a</a:t>
            </a:r>
            <a:r>
              <a:rPr lang="hu-HU" dirty="0">
                <a:solidFill>
                  <a:schemeClr val="tx1"/>
                </a:solidFill>
                <a:latin typeface="+mn-lt"/>
              </a:rPr>
              <a:t>z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 „</a:t>
            </a:r>
            <a:r>
              <a:rPr lang="hu-HU" dirty="0">
                <a:solidFill>
                  <a:schemeClr val="tx1"/>
                </a:solidFill>
                <a:latin typeface="+mn-lt"/>
              </a:rPr>
              <a:t>előtérbe kerülő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”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és</a:t>
            </a:r>
            <a:r>
              <a:rPr lang="hu-HU" dirty="0">
                <a:solidFill>
                  <a:schemeClr val="tx1"/>
                </a:solidFill>
                <a:latin typeface="+mn-lt"/>
              </a:rPr>
              <a:t> a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 „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maszkolt</a:t>
            </a:r>
            <a:r>
              <a:rPr lang="en-US" dirty="0">
                <a:solidFill>
                  <a:schemeClr val="tx1"/>
                </a:solidFill>
                <a:latin typeface="+mn-lt"/>
              </a:rPr>
              <a:t>” </a:t>
            </a:r>
            <a:r>
              <a:rPr lang="en-US" dirty="0" err="1">
                <a:solidFill>
                  <a:schemeClr val="tx1"/>
                </a:solidFill>
                <a:latin typeface="+mn-lt"/>
              </a:rPr>
              <a:t>mikotoxinokról</a:t>
            </a:r>
            <a:endParaRPr lang="hu-HU" dirty="0">
              <a:solidFill>
                <a:schemeClr val="tx1"/>
              </a:solidFill>
              <a:latin typeface="+mn-lt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hu-HU" dirty="0">
              <a:solidFill>
                <a:schemeClr val="tx1"/>
              </a:solidFill>
              <a:latin typeface="+mn-lt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tx1"/>
                </a:solidFill>
                <a:latin typeface="+mn-lt"/>
              </a:rPr>
              <a:t>!</a:t>
            </a:r>
            <a:endParaRPr lang="hu-HU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D3D5281-6A02-4BF7-9830-5C585096CD2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87490" y="2267572"/>
            <a:ext cx="2814492" cy="1612546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60F2F93-6CE3-4301-97EC-A46AD9565A2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64091" y="4032071"/>
            <a:ext cx="2814492" cy="1984481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508073E-EE73-47B1-BE95-BDB8064041EF}"/>
              </a:ext>
            </a:extLst>
          </p:cNvPr>
          <p:cNvSpPr txBox="1"/>
          <p:nvPr/>
        </p:nvSpPr>
        <p:spPr>
          <a:xfrm>
            <a:off x="9640219" y="4134707"/>
            <a:ext cx="2369598" cy="1323439"/>
          </a:xfrm>
          <a:prstGeom prst="rect">
            <a:avLst/>
          </a:prstGeom>
          <a:solidFill>
            <a:srgbClr val="18B7F0"/>
          </a:solidFill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>
            <a:defPPr>
              <a:defRPr lang="en-US"/>
            </a:defPPr>
            <a:lvl2pPr marL="0" lvl="1" algn="ctr">
              <a:defRPr sz="1400" b="1" kern="0">
                <a:solidFill>
                  <a:prstClr val="white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2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Emerging mycotoxins: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t>frequently found on agricultural commodities, not regulated; toxicity is under investigation, but toxic effects suggested in some scientific literature; EFSA started to publish reports to do a risk assessment for these toxins.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C2494EA-F3F9-4E77-A415-F3154A4963D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356437" y="798589"/>
            <a:ext cx="3413143" cy="1366136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BF8DC06-854D-41EC-BBF5-584F183F08FB}"/>
              </a:ext>
            </a:extLst>
          </p:cNvPr>
          <p:cNvSpPr/>
          <p:nvPr/>
        </p:nvSpPr>
        <p:spPr>
          <a:xfrm>
            <a:off x="10825018" y="0"/>
            <a:ext cx="1366982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06FCACDE-ED49-406D-AD3A-D4B87154623A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67739" y="5458146"/>
            <a:ext cx="2250104" cy="1573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89034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Picture 47">
            <a:extLst>
              <a:ext uri="{FF2B5EF4-FFF2-40B4-BE49-F238E27FC236}">
                <a16:creationId xmlns:a16="http://schemas.microsoft.com/office/drawing/2014/main" id="{69F3965C-ECCF-46E7-8946-9D54D663A1D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745" t="26161" r="33722" b="24747"/>
          <a:stretch/>
        </p:blipFill>
        <p:spPr>
          <a:xfrm>
            <a:off x="6630818" y="3584773"/>
            <a:ext cx="1660658" cy="2181298"/>
          </a:xfrm>
          <a:prstGeom prst="rect">
            <a:avLst/>
          </a:prstGeom>
        </p:spPr>
      </p:pic>
      <p:pic>
        <p:nvPicPr>
          <p:cNvPr id="18" name="Picture 17" descr="A picture containing tree, outdoor, sky, house&#10;&#10;Description automatically generated">
            <a:extLst>
              <a:ext uri="{FF2B5EF4-FFF2-40B4-BE49-F238E27FC236}">
                <a16:creationId xmlns:a16="http://schemas.microsoft.com/office/drawing/2014/main" id="{629159AA-83FC-44E9-BDC2-7E498B8CBAC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6570" y="4229110"/>
            <a:ext cx="1624639" cy="1368726"/>
          </a:xfrm>
          <a:prstGeom prst="rect">
            <a:avLst/>
          </a:prstGeom>
          <a:effectLst>
            <a:softEdge rad="50800"/>
          </a:effectLst>
        </p:spPr>
      </p:pic>
      <p:pic>
        <p:nvPicPr>
          <p:cNvPr id="13" name="Picture 12" descr="A group of people standing on a porch&#10;&#10;Description automatically generated with medium confidence">
            <a:extLst>
              <a:ext uri="{FF2B5EF4-FFF2-40B4-BE49-F238E27FC236}">
                <a16:creationId xmlns:a16="http://schemas.microsoft.com/office/drawing/2014/main" id="{FB738864-20AD-4D00-9164-2388CC9E44D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935" y="4548611"/>
            <a:ext cx="1463140" cy="1097355"/>
          </a:xfrm>
          <a:prstGeom prst="rect">
            <a:avLst/>
          </a:prstGeom>
          <a:effectLst>
            <a:softEdge rad="38100"/>
          </a:effectLst>
        </p:spPr>
      </p:pic>
      <p:pic>
        <p:nvPicPr>
          <p:cNvPr id="7" name="Picture 6" descr="A picture containing blue, indoor, metal&#10;&#10;Description automatically generated">
            <a:extLst>
              <a:ext uri="{FF2B5EF4-FFF2-40B4-BE49-F238E27FC236}">
                <a16:creationId xmlns:a16="http://schemas.microsoft.com/office/drawing/2014/main" id="{9341793B-F5E0-4730-A2A6-A1055A82434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12229" y="1473525"/>
            <a:ext cx="1435682" cy="1760844"/>
          </a:xfrm>
          <a:prstGeom prst="rect">
            <a:avLst/>
          </a:prstGeom>
          <a:effectLst>
            <a:softEdge rad="25400"/>
          </a:effectLst>
        </p:spPr>
      </p:pic>
      <p:pic>
        <p:nvPicPr>
          <p:cNvPr id="16" name="Picture 15" descr="A building with cars parked in front&#10;&#10;Description automatically generated with low confidence">
            <a:extLst>
              <a:ext uri="{FF2B5EF4-FFF2-40B4-BE49-F238E27FC236}">
                <a16:creationId xmlns:a16="http://schemas.microsoft.com/office/drawing/2014/main" id="{2F98C5D5-3593-446E-8359-E279F3620B98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980" y="2834789"/>
            <a:ext cx="2424422" cy="1818317"/>
          </a:xfrm>
          <a:prstGeom prst="rect">
            <a:avLst/>
          </a:prstGeom>
          <a:effectLst>
            <a:softEdge rad="76200"/>
          </a:effectLst>
        </p:spPr>
      </p:pic>
      <p:pic>
        <p:nvPicPr>
          <p:cNvPr id="3" name="Picture 2" descr="A group of people sitting on the grass with a sign&#10;&#10;Description automatically generated with low confidence">
            <a:extLst>
              <a:ext uri="{FF2B5EF4-FFF2-40B4-BE49-F238E27FC236}">
                <a16:creationId xmlns:a16="http://schemas.microsoft.com/office/drawing/2014/main" id="{8CACBDAA-BC25-4851-9C56-770B64FCFD3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9158" y="3680129"/>
            <a:ext cx="2374529" cy="1581809"/>
          </a:xfrm>
          <a:prstGeom prst="rect">
            <a:avLst/>
          </a:prstGeom>
          <a:effectLst>
            <a:softEdge rad="76200"/>
          </a:effectLst>
        </p:spPr>
      </p:pic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E0FA2F0-AD70-456D-97BE-C4684CF984A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16" name="think-cell Slide" r:id="rId12" imgW="429" imgH="429" progId="TCLayout.ActiveDocument.1">
                  <p:embed/>
                </p:oleObj>
              </mc:Choice>
              <mc:Fallback>
                <p:oleObj name="think-cell Slide" r:id="rId12" imgW="429" imgH="429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E0FA2F0-AD70-456D-97BE-C4684CF98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E3AF8B50-DA72-4D2D-A2F6-AE55B35B3AC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200">
              <a:solidFill>
                <a:schemeClr val="tx1"/>
              </a:solidFill>
              <a:latin typeface="Fira Sans Medium" panose="020B0603050000020004" pitchFamily="34" charset="0"/>
              <a:ea typeface="+mj-ea"/>
              <a:cs typeface="+mj-cs"/>
              <a:sym typeface="Fira Sans Medium" panose="020B06030500000200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A31FE367-5C83-4339-A0C7-A8EC742D9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906" y="61368"/>
            <a:ext cx="1899796" cy="869202"/>
          </a:xfrm>
        </p:spPr>
        <p:txBody>
          <a:bodyPr>
            <a:normAutofit/>
          </a:bodyPr>
          <a:lstStyle/>
          <a:p>
            <a:r>
              <a:rPr lang="en-US" b="1" dirty="0">
                <a:solidFill>
                  <a:schemeClr val="bg1"/>
                </a:solidFill>
                <a:latin typeface="Bradley Hand ITC" panose="03070402050302030203" pitchFamily="66" charset="0"/>
              </a:rPr>
              <a:t>20 </a:t>
            </a:r>
            <a:r>
              <a:rPr lang="en-US" b="1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év</a:t>
            </a:r>
            <a:r>
              <a:rPr lang="en-US" b="1" dirty="0">
                <a:solidFill>
                  <a:schemeClr val="bg1"/>
                </a:solidFill>
                <a:latin typeface="Bradley Hand ITC" panose="03070402050302030203" pitchFamily="66" charset="0"/>
              </a:rPr>
              <a:t>… </a:t>
            </a:r>
            <a:endParaRPr lang="en-US" b="1" noProof="0" dirty="0">
              <a:solidFill>
                <a:schemeClr val="bg1"/>
              </a:solidFill>
              <a:latin typeface="Bradley Hand ITC" panose="03070402050302030203" pitchFamily="66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25AA239-1B8B-4226-9F11-0CB9828A4808}"/>
              </a:ext>
            </a:extLst>
          </p:cNvPr>
          <p:cNvGrpSpPr/>
          <p:nvPr/>
        </p:nvGrpSpPr>
        <p:grpSpPr>
          <a:xfrm>
            <a:off x="679931" y="981894"/>
            <a:ext cx="10953350" cy="5464778"/>
            <a:chOff x="920234" y="907199"/>
            <a:chExt cx="10953350" cy="5464778"/>
          </a:xfrm>
        </p:grpSpPr>
        <p:sp>
          <p:nvSpPr>
            <p:cNvPr id="17475" name="Freeform 99">
              <a:extLst>
                <a:ext uri="{FF2B5EF4-FFF2-40B4-BE49-F238E27FC236}">
                  <a16:creationId xmlns:a16="http://schemas.microsoft.com/office/drawing/2014/main" id="{A78B9D64-DDF0-4746-AF89-7414440F23BC}"/>
                </a:ext>
              </a:extLst>
            </p:cNvPr>
            <p:cNvSpPr>
              <a:spLocks/>
            </p:cNvSpPr>
            <p:nvPr/>
          </p:nvSpPr>
          <p:spPr bwMode="auto">
            <a:xfrm rot="21307981">
              <a:off x="1198888" y="3136604"/>
              <a:ext cx="10497258" cy="1719790"/>
            </a:xfrm>
            <a:custGeom>
              <a:avLst/>
              <a:gdLst>
                <a:gd name="T0" fmla="*/ 0 w 11696"/>
                <a:gd name="T1" fmla="*/ 2192 h 2192"/>
                <a:gd name="T2" fmla="*/ 11148 w 11696"/>
                <a:gd name="T3" fmla="*/ 274 h 2192"/>
                <a:gd name="T4" fmla="*/ 11118 w 11696"/>
                <a:gd name="T5" fmla="*/ 0 h 2192"/>
                <a:gd name="T6" fmla="*/ 11696 w 11696"/>
                <a:gd name="T7" fmla="*/ 439 h 2192"/>
                <a:gd name="T8" fmla="*/ 11241 w 11696"/>
                <a:gd name="T9" fmla="*/ 1096 h 2192"/>
                <a:gd name="T10" fmla="*/ 11210 w 11696"/>
                <a:gd name="T11" fmla="*/ 822 h 2192"/>
                <a:gd name="T12" fmla="*/ 0 w 11696"/>
                <a:gd name="T13" fmla="*/ 2192 h 2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1696" h="2192">
                  <a:moveTo>
                    <a:pt x="0" y="2192"/>
                  </a:moveTo>
                  <a:cubicBezTo>
                    <a:pt x="1300" y="1218"/>
                    <a:pt x="5016" y="579"/>
                    <a:pt x="11148" y="274"/>
                  </a:cubicBezTo>
                  <a:lnTo>
                    <a:pt x="11118" y="0"/>
                  </a:lnTo>
                  <a:lnTo>
                    <a:pt x="11696" y="439"/>
                  </a:lnTo>
                  <a:lnTo>
                    <a:pt x="11241" y="1096"/>
                  </a:lnTo>
                  <a:lnTo>
                    <a:pt x="11210" y="822"/>
                  </a:lnTo>
                  <a:cubicBezTo>
                    <a:pt x="5686" y="944"/>
                    <a:pt x="1950" y="1401"/>
                    <a:pt x="0" y="2192"/>
                  </a:cubicBezTo>
                  <a:close/>
                </a:path>
              </a:pathLst>
            </a:custGeom>
            <a:gradFill>
              <a:gsLst>
                <a:gs pos="85000">
                  <a:schemeClr val="bg1">
                    <a:lumMod val="65000"/>
                  </a:schemeClr>
                </a:gs>
                <a:gs pos="54000">
                  <a:schemeClr val="accent3"/>
                </a:gs>
                <a:gs pos="26000">
                  <a:srgbClr val="45AC34"/>
                </a:gs>
              </a:gsLst>
              <a:lin ang="13800000" scaled="0"/>
            </a:gradFill>
            <a:ln w="44450" cap="flat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 vert="horz" wrap="square" lIns="121807" tIns="60904" rIns="121807" bIns="60904" numCol="1" anchor="t" anchorCtr="0" compatLnSpc="1">
              <a:prstTxWarp prst="textNoShape">
                <a:avLst/>
              </a:prstTxWarp>
            </a:bodyPr>
            <a:lstStyle/>
            <a:p>
              <a:endParaRPr lang="en-US" sz="2398"/>
            </a:p>
          </p:txBody>
        </p:sp>
        <p:sp>
          <p:nvSpPr>
            <p:cNvPr id="9" name="TextBox 37">
              <a:extLst>
                <a:ext uri="{FF2B5EF4-FFF2-40B4-BE49-F238E27FC236}">
                  <a16:creationId xmlns:a16="http://schemas.microsoft.com/office/drawing/2014/main" id="{66EF582C-56DE-4A94-82B7-96B798E8C81E}"/>
                </a:ext>
              </a:extLst>
            </p:cNvPr>
            <p:cNvSpPr txBox="1"/>
            <p:nvPr/>
          </p:nvSpPr>
          <p:spPr>
            <a:xfrm>
              <a:off x="920234" y="938522"/>
              <a:ext cx="778675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  <a:cs typeface="Arial" charset="0"/>
                </a:rPr>
                <a:t>Premix</a:t>
              </a:r>
            </a:p>
            <a:p>
              <a:pPr algn="ctr"/>
              <a:r>
                <a:rPr lang="en-US" sz="1600" b="1" dirty="0" err="1">
                  <a:solidFill>
                    <a:schemeClr val="bg1"/>
                  </a:solidFill>
                  <a:cs typeface="Arial" charset="0"/>
                </a:rPr>
                <a:t>üzem</a:t>
              </a:r>
              <a:endParaRPr lang="en-US" sz="1600" b="1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1" name="TextBox 39">
              <a:extLst>
                <a:ext uri="{FF2B5EF4-FFF2-40B4-BE49-F238E27FC236}">
                  <a16:creationId xmlns:a16="http://schemas.microsoft.com/office/drawing/2014/main" id="{19EAE0B6-6F87-4954-8CF2-0CDBAD2F53E7}"/>
                </a:ext>
              </a:extLst>
            </p:cNvPr>
            <p:cNvSpPr txBox="1"/>
            <p:nvPr/>
          </p:nvSpPr>
          <p:spPr>
            <a:xfrm>
              <a:off x="3600552" y="911018"/>
              <a:ext cx="1481239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dirty="0" err="1">
                  <a:solidFill>
                    <a:schemeClr val="bg1"/>
                  </a:solidFill>
                  <a:cs typeface="Arial" charset="0"/>
                </a:rPr>
                <a:t>Cseh</a:t>
              </a:r>
              <a:r>
                <a:rPr lang="en-US" sz="1600" b="1" dirty="0">
                  <a:solidFill>
                    <a:schemeClr val="bg1"/>
                  </a:solidFill>
                  <a:cs typeface="Arial" charset="0"/>
                </a:rPr>
                <a:t> és </a:t>
              </a:r>
              <a:r>
                <a:rPr lang="en-US" sz="1600" b="1" dirty="0" err="1">
                  <a:solidFill>
                    <a:schemeClr val="bg1"/>
                  </a:solidFill>
                  <a:cs typeface="Arial" charset="0"/>
                </a:rPr>
                <a:t>szlovák</a:t>
              </a:r>
              <a:endParaRPr lang="en-US" sz="1600" b="1" dirty="0">
                <a:solidFill>
                  <a:schemeClr val="bg1"/>
                </a:solidFill>
                <a:cs typeface="Arial" charset="0"/>
              </a:endParaRPr>
            </a:p>
            <a:p>
              <a:pPr algn="ctr"/>
              <a:r>
                <a:rPr lang="en-US" sz="1600" b="1" dirty="0" err="1">
                  <a:solidFill>
                    <a:schemeClr val="bg1"/>
                  </a:solidFill>
                  <a:cs typeface="Arial" charset="0"/>
                </a:rPr>
                <a:t>piac</a:t>
              </a:r>
              <a:endParaRPr lang="en-US" sz="1600" b="1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2" name="TextBox 40">
              <a:extLst>
                <a:ext uri="{FF2B5EF4-FFF2-40B4-BE49-F238E27FC236}">
                  <a16:creationId xmlns:a16="http://schemas.microsoft.com/office/drawing/2014/main" id="{486F181B-8DBB-4D86-AFF9-B16C3BD5AFE5}"/>
                </a:ext>
              </a:extLst>
            </p:cNvPr>
            <p:cNvSpPr txBox="1"/>
            <p:nvPr/>
          </p:nvSpPr>
          <p:spPr>
            <a:xfrm>
              <a:off x="5617621" y="907199"/>
              <a:ext cx="1040862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600" b="1" dirty="0" err="1">
                  <a:solidFill>
                    <a:schemeClr val="bg1"/>
                  </a:solidFill>
                  <a:cs typeface="Arial" charset="0"/>
                </a:rPr>
                <a:t>Kapacitás</a:t>
              </a:r>
              <a:r>
                <a:rPr lang="en-US" sz="1600" b="1" dirty="0">
                  <a:solidFill>
                    <a:schemeClr val="bg1"/>
                  </a:solidFill>
                  <a:cs typeface="Arial" charset="0"/>
                </a:rPr>
                <a:t> </a:t>
              </a:r>
            </a:p>
            <a:p>
              <a:pPr algn="ctr"/>
              <a:r>
                <a:rPr lang="en-US" sz="1600" b="1" dirty="0" err="1">
                  <a:solidFill>
                    <a:schemeClr val="bg1"/>
                  </a:solidFill>
                  <a:cs typeface="Arial" charset="0"/>
                </a:rPr>
                <a:t>bővítés</a:t>
              </a:r>
              <a:endParaRPr lang="en-US" sz="1600" b="1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7478" name="Rectangle 102">
              <a:extLst>
                <a:ext uri="{FF2B5EF4-FFF2-40B4-BE49-F238E27FC236}">
                  <a16:creationId xmlns:a16="http://schemas.microsoft.com/office/drawing/2014/main" id="{172F606A-AA19-4EFB-A85D-3AED6E40549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05507" y="6094978"/>
              <a:ext cx="468077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defTabSz="1218072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altLang="en-US" b="1" dirty="0">
                  <a:solidFill>
                    <a:srgbClr val="FFC000"/>
                  </a:solidFill>
                  <a:latin typeface="+mn-lt"/>
                </a:rPr>
                <a:t>2022</a:t>
              </a:r>
              <a:endParaRPr lang="en-US" altLang="en-US" dirty="0">
                <a:solidFill>
                  <a:srgbClr val="FFC000"/>
                </a:solidFill>
                <a:latin typeface="+mn-lt"/>
              </a:endParaRPr>
            </a:p>
          </p:txBody>
        </p:sp>
      </p:grpSp>
      <p:sp>
        <p:nvSpPr>
          <p:cNvPr id="30" name="Rectangle 102">
            <a:extLst>
              <a:ext uri="{FF2B5EF4-FFF2-40B4-BE49-F238E27FC236}">
                <a16:creationId xmlns:a16="http://schemas.microsoft.com/office/drawing/2014/main" id="{B9621B48-011E-4E23-BA1E-5C00F2979C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57337" y="6208957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8072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solidFill>
                  <a:srgbClr val="FFC000"/>
                </a:solidFill>
                <a:latin typeface="+mn-lt"/>
              </a:rPr>
              <a:t>2009</a:t>
            </a:r>
            <a:endParaRPr lang="en-US" altLang="en-US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31" name="Rectangle 102">
            <a:extLst>
              <a:ext uri="{FF2B5EF4-FFF2-40B4-BE49-F238E27FC236}">
                <a16:creationId xmlns:a16="http://schemas.microsoft.com/office/drawing/2014/main" id="{254BBBA0-55A4-4BCC-8498-71E45A6B80D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274698" y="6211078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8072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solidFill>
                  <a:srgbClr val="FFC000"/>
                </a:solidFill>
                <a:latin typeface="+mn-lt"/>
              </a:rPr>
              <a:t>2004</a:t>
            </a:r>
            <a:endParaRPr lang="en-US" altLang="en-US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32" name="Rectangle 102">
            <a:extLst>
              <a:ext uri="{FF2B5EF4-FFF2-40B4-BE49-F238E27FC236}">
                <a16:creationId xmlns:a16="http://schemas.microsoft.com/office/drawing/2014/main" id="{1AEF66B5-6BFA-4C9C-803A-2039DFC1639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2757" y="6211610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8072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solidFill>
                  <a:srgbClr val="FFC000"/>
                </a:solidFill>
                <a:latin typeface="+mn-lt"/>
              </a:rPr>
              <a:t>2002</a:t>
            </a:r>
            <a:endParaRPr lang="en-US" altLang="en-US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33" name="TextBox 37">
            <a:extLst>
              <a:ext uri="{FF2B5EF4-FFF2-40B4-BE49-F238E27FC236}">
                <a16:creationId xmlns:a16="http://schemas.microsoft.com/office/drawing/2014/main" id="{C2E31270-0B90-4140-8CA8-FB3D372C01CF}"/>
              </a:ext>
            </a:extLst>
          </p:cNvPr>
          <p:cNvSpPr txBox="1"/>
          <p:nvPr/>
        </p:nvSpPr>
        <p:spPr>
          <a:xfrm>
            <a:off x="2198386" y="1023742"/>
            <a:ext cx="59182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DSM</a:t>
            </a:r>
          </a:p>
        </p:txBody>
      </p:sp>
      <p:sp>
        <p:nvSpPr>
          <p:cNvPr id="34" name="Rectangle 102">
            <a:extLst>
              <a:ext uri="{FF2B5EF4-FFF2-40B4-BE49-F238E27FC236}">
                <a16:creationId xmlns:a16="http://schemas.microsoft.com/office/drawing/2014/main" id="{779F1455-A26F-4904-828A-042EA0A5374B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49131" y="6182394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8072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solidFill>
                  <a:srgbClr val="FFC000"/>
                </a:solidFill>
                <a:latin typeface="+mn-lt"/>
              </a:rPr>
              <a:t>2015</a:t>
            </a:r>
            <a:endParaRPr lang="en-US" altLang="en-US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35" name="Rectangle 102">
            <a:extLst>
              <a:ext uri="{FF2B5EF4-FFF2-40B4-BE49-F238E27FC236}">
                <a16:creationId xmlns:a16="http://schemas.microsoft.com/office/drawing/2014/main" id="{161614E5-C9C5-4AB0-893D-FC4194612DA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87664" y="6201732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8072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solidFill>
                  <a:srgbClr val="FFC000"/>
                </a:solidFill>
                <a:latin typeface="+mn-lt"/>
              </a:rPr>
              <a:t>2012</a:t>
            </a:r>
            <a:endParaRPr lang="en-US" altLang="en-US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36" name="Rectangle 102">
            <a:extLst>
              <a:ext uri="{FF2B5EF4-FFF2-40B4-BE49-F238E27FC236}">
                <a16:creationId xmlns:a16="http://schemas.microsoft.com/office/drawing/2014/main" id="{0701F3D2-58D0-4D5B-BE16-CDB49D647E89}"/>
              </a:ext>
            </a:extLst>
          </p:cNvPr>
          <p:cNvSpPr>
            <a:spLocks noChangeArrowheads="1"/>
          </p:cNvSpPr>
          <p:nvPr/>
        </p:nvSpPr>
        <p:spPr bwMode="auto">
          <a:xfrm>
            <a:off x="8291476" y="6169673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8072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solidFill>
                  <a:srgbClr val="FFC000"/>
                </a:solidFill>
                <a:latin typeface="+mn-lt"/>
              </a:rPr>
              <a:t>2018</a:t>
            </a:r>
            <a:endParaRPr lang="en-US" altLang="en-US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37" name="Rectangle 102">
            <a:extLst>
              <a:ext uri="{FF2B5EF4-FFF2-40B4-BE49-F238E27FC236}">
                <a16:creationId xmlns:a16="http://schemas.microsoft.com/office/drawing/2014/main" id="{2C70585E-90BB-47C1-A19E-961AB13A8A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27869" y="6182394"/>
            <a:ext cx="468077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18072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solidFill>
                  <a:srgbClr val="FFC000"/>
                </a:solidFill>
                <a:latin typeface="+mn-lt"/>
              </a:rPr>
              <a:t>2021</a:t>
            </a:r>
            <a:endParaRPr lang="en-US" altLang="en-US" dirty="0">
              <a:solidFill>
                <a:srgbClr val="FFC000"/>
              </a:solidFill>
              <a:latin typeface="+mn-lt"/>
            </a:endParaRPr>
          </a:p>
        </p:txBody>
      </p:sp>
      <p:sp>
        <p:nvSpPr>
          <p:cNvPr id="38" name="TextBox 40">
            <a:extLst>
              <a:ext uri="{FF2B5EF4-FFF2-40B4-BE49-F238E27FC236}">
                <a16:creationId xmlns:a16="http://schemas.microsoft.com/office/drawing/2014/main" id="{EFDD0D20-4460-41AA-BA3A-7E9E19E782A7}"/>
              </a:ext>
            </a:extLst>
          </p:cNvPr>
          <p:cNvSpPr txBox="1"/>
          <p:nvPr/>
        </p:nvSpPr>
        <p:spPr>
          <a:xfrm>
            <a:off x="6861247" y="1024518"/>
            <a:ext cx="9841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20,000 to</a:t>
            </a:r>
          </a:p>
        </p:txBody>
      </p:sp>
      <p:sp>
        <p:nvSpPr>
          <p:cNvPr id="39" name="TextBox 40">
            <a:extLst>
              <a:ext uri="{FF2B5EF4-FFF2-40B4-BE49-F238E27FC236}">
                <a16:creationId xmlns:a16="http://schemas.microsoft.com/office/drawing/2014/main" id="{4ED34918-8FD2-4402-BD41-8681B7CA0DB5}"/>
              </a:ext>
            </a:extLst>
          </p:cNvPr>
          <p:cNvSpPr txBox="1"/>
          <p:nvPr/>
        </p:nvSpPr>
        <p:spPr>
          <a:xfrm>
            <a:off x="10190689" y="1023742"/>
            <a:ext cx="78970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STAR 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project</a:t>
            </a:r>
          </a:p>
        </p:txBody>
      </p:sp>
      <p:sp>
        <p:nvSpPr>
          <p:cNvPr id="40" name="TextBox 40">
            <a:extLst>
              <a:ext uri="{FF2B5EF4-FFF2-40B4-BE49-F238E27FC236}">
                <a16:creationId xmlns:a16="http://schemas.microsoft.com/office/drawing/2014/main" id="{4BEE164C-17D2-4F85-91C5-7101028BA443}"/>
              </a:ext>
            </a:extLst>
          </p:cNvPr>
          <p:cNvSpPr txBox="1"/>
          <p:nvPr/>
        </p:nvSpPr>
        <p:spPr>
          <a:xfrm>
            <a:off x="8415461" y="1023742"/>
            <a:ext cx="1034770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cs typeface="Arial" charset="0"/>
              </a:rPr>
              <a:t>Automata</a:t>
            </a:r>
          </a:p>
          <a:p>
            <a:pPr algn="ctr"/>
            <a:r>
              <a:rPr lang="en-US" sz="1600" b="1" dirty="0" err="1">
                <a:solidFill>
                  <a:schemeClr val="bg1"/>
                </a:solidFill>
                <a:cs typeface="Arial" charset="0"/>
              </a:rPr>
              <a:t>raklapozó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41" name="Picture 110">
            <a:extLst>
              <a:ext uri="{FF2B5EF4-FFF2-40B4-BE49-F238E27FC236}">
                <a16:creationId xmlns:a16="http://schemas.microsoft.com/office/drawing/2014/main" id="{29F92D0B-56A5-4728-8CF8-4F143FC815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80456" y="1648226"/>
            <a:ext cx="949791" cy="31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 descr="Shape&#10;&#10;Description automatically generated with low confidence">
            <a:extLst>
              <a:ext uri="{FF2B5EF4-FFF2-40B4-BE49-F238E27FC236}">
                <a16:creationId xmlns:a16="http://schemas.microsoft.com/office/drawing/2014/main" id="{5155713D-2D2E-4CAE-91BC-7EBC09AC5CAA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304" y="1770115"/>
            <a:ext cx="723901" cy="419101"/>
          </a:xfrm>
          <a:prstGeom prst="rect">
            <a:avLst/>
          </a:prstGeom>
        </p:spPr>
      </p:pic>
      <p:sp>
        <p:nvSpPr>
          <p:cNvPr id="44" name="TextBox 37">
            <a:extLst>
              <a:ext uri="{FF2B5EF4-FFF2-40B4-BE49-F238E27FC236}">
                <a16:creationId xmlns:a16="http://schemas.microsoft.com/office/drawing/2014/main" id="{0D9F36DA-CC1B-4B6C-ABB8-089510DC83FF}"/>
              </a:ext>
            </a:extLst>
          </p:cNvPr>
          <p:cNvSpPr txBox="1"/>
          <p:nvPr/>
        </p:nvSpPr>
        <p:spPr>
          <a:xfrm>
            <a:off x="449906" y="5844820"/>
            <a:ext cx="115377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hu-HU" sz="1600" b="1" dirty="0">
                <a:solidFill>
                  <a:schemeClr val="bg1"/>
                </a:solidFill>
                <a:cs typeface="Arial" charset="0"/>
              </a:rPr>
              <a:t>Cégalapítás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5" name="TextBox 37">
            <a:extLst>
              <a:ext uri="{FF2B5EF4-FFF2-40B4-BE49-F238E27FC236}">
                <a16:creationId xmlns:a16="http://schemas.microsoft.com/office/drawing/2014/main" id="{0D593710-8725-435D-A22E-B6B7A0009F48}"/>
              </a:ext>
            </a:extLst>
          </p:cNvPr>
          <p:cNvSpPr txBox="1"/>
          <p:nvPr/>
        </p:nvSpPr>
        <p:spPr>
          <a:xfrm>
            <a:off x="2985096" y="5633090"/>
            <a:ext cx="104220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600" b="1" dirty="0">
                <a:solidFill>
                  <a:schemeClr val="bg1"/>
                </a:solidFill>
                <a:cs typeface="Arial" charset="0"/>
              </a:rPr>
              <a:t>Önálló </a:t>
            </a:r>
          </a:p>
          <a:p>
            <a:pPr algn="ctr"/>
            <a:r>
              <a:rPr lang="hu-HU" sz="1600" b="1" dirty="0">
                <a:solidFill>
                  <a:schemeClr val="bg1"/>
                </a:solidFill>
                <a:cs typeface="Arial" charset="0"/>
              </a:rPr>
              <a:t>képviselet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6" name="TextBox 37">
            <a:extLst>
              <a:ext uri="{FF2B5EF4-FFF2-40B4-BE49-F238E27FC236}">
                <a16:creationId xmlns:a16="http://schemas.microsoft.com/office/drawing/2014/main" id="{A09F88FB-A52C-4594-BB15-EC1DAAF25D0F}"/>
              </a:ext>
            </a:extLst>
          </p:cNvPr>
          <p:cNvSpPr txBox="1"/>
          <p:nvPr/>
        </p:nvSpPr>
        <p:spPr>
          <a:xfrm>
            <a:off x="4531140" y="5624182"/>
            <a:ext cx="127926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600" b="1" dirty="0">
                <a:solidFill>
                  <a:schemeClr val="bg1"/>
                </a:solidFill>
                <a:cs typeface="Arial" charset="0"/>
              </a:rPr>
              <a:t>Cégközpont: </a:t>
            </a:r>
          </a:p>
          <a:p>
            <a:pPr algn="ctr"/>
            <a:r>
              <a:rPr lang="hu-HU" sz="1600" b="1" dirty="0">
                <a:solidFill>
                  <a:schemeClr val="bg1"/>
                </a:solidFill>
                <a:cs typeface="Arial" charset="0"/>
              </a:rPr>
              <a:t>Budaörs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47" name="TextBox 37">
            <a:extLst>
              <a:ext uri="{FF2B5EF4-FFF2-40B4-BE49-F238E27FC236}">
                <a16:creationId xmlns:a16="http://schemas.microsoft.com/office/drawing/2014/main" id="{39C6DB66-5F95-48F9-B0E7-E9F46956777F}"/>
              </a:ext>
            </a:extLst>
          </p:cNvPr>
          <p:cNvSpPr txBox="1"/>
          <p:nvPr/>
        </p:nvSpPr>
        <p:spPr>
          <a:xfrm>
            <a:off x="6635160" y="5597836"/>
            <a:ext cx="143635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hu-HU" sz="1600" b="1" dirty="0" err="1">
                <a:solidFill>
                  <a:schemeClr val="bg1"/>
                </a:solidFill>
                <a:cs typeface="Arial" charset="0"/>
              </a:rPr>
              <a:t>Mycofix</a:t>
            </a:r>
            <a:r>
              <a:rPr lang="hu-HU" sz="1600" b="1" dirty="0">
                <a:solidFill>
                  <a:schemeClr val="bg1"/>
                </a:solidFill>
                <a:cs typeface="Arial" charset="0"/>
              </a:rPr>
              <a:t> </a:t>
            </a:r>
          </a:p>
          <a:p>
            <a:pPr algn="ctr"/>
            <a:r>
              <a:rPr lang="hu-HU" sz="1600" b="1" dirty="0">
                <a:solidFill>
                  <a:schemeClr val="bg1"/>
                </a:solidFill>
                <a:cs typeface="Arial" charset="0"/>
              </a:rPr>
              <a:t>EU regisztráció</a:t>
            </a:r>
            <a:endParaRPr lang="en-US" sz="1600" b="1" dirty="0">
              <a:solidFill>
                <a:schemeClr val="bg1"/>
              </a:solidFill>
              <a:cs typeface="Arial" charset="0"/>
            </a:endParaRPr>
          </a:p>
        </p:txBody>
      </p:sp>
      <p:pic>
        <p:nvPicPr>
          <p:cNvPr id="21" name="Picture 2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7168A366-2936-42C0-B17C-765675A694A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6467" y="5508793"/>
            <a:ext cx="1391956" cy="471850"/>
          </a:xfrm>
          <a:prstGeom prst="rect">
            <a:avLst/>
          </a:prstGeom>
        </p:spPr>
      </p:pic>
      <p:pic>
        <p:nvPicPr>
          <p:cNvPr id="23" name="Picture 2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1973927-6018-4E1A-90A9-41719D7DACAD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546" y="5435354"/>
            <a:ext cx="1042208" cy="370489"/>
          </a:xfrm>
          <a:prstGeom prst="rect">
            <a:avLst/>
          </a:prstGeom>
        </p:spPr>
      </p:pic>
      <p:pic>
        <p:nvPicPr>
          <p:cNvPr id="15" name="Picture 14" descr="A picture containing sky, outdoor, tower&#10;&#10;Description automatically generated">
            <a:extLst>
              <a:ext uri="{FF2B5EF4-FFF2-40B4-BE49-F238E27FC236}">
                <a16:creationId xmlns:a16="http://schemas.microsoft.com/office/drawing/2014/main" id="{7D76D770-F1CC-4591-AF15-7F8CEAB03A44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00721" y="1596581"/>
            <a:ext cx="1271049" cy="1571497"/>
          </a:xfrm>
          <a:prstGeom prst="rect">
            <a:avLst/>
          </a:prstGeom>
          <a:effectLst>
            <a:softEdge rad="76200"/>
          </a:effectLst>
        </p:spPr>
      </p:pic>
      <p:sp>
        <p:nvSpPr>
          <p:cNvPr id="29" name="Freeform 99">
            <a:extLst>
              <a:ext uri="{FF2B5EF4-FFF2-40B4-BE49-F238E27FC236}">
                <a16:creationId xmlns:a16="http://schemas.microsoft.com/office/drawing/2014/main" id="{8D7F07AF-8FFD-49DB-9A43-8C1EE8D4CF73}"/>
              </a:ext>
            </a:extLst>
          </p:cNvPr>
          <p:cNvSpPr>
            <a:spLocks/>
          </p:cNvSpPr>
          <p:nvPr/>
        </p:nvSpPr>
        <p:spPr bwMode="auto">
          <a:xfrm rot="21248097" flipV="1">
            <a:off x="313966" y="1837743"/>
            <a:ext cx="11123058" cy="2389475"/>
          </a:xfrm>
          <a:custGeom>
            <a:avLst/>
            <a:gdLst>
              <a:gd name="T0" fmla="*/ 0 w 11696"/>
              <a:gd name="T1" fmla="*/ 2192 h 2192"/>
              <a:gd name="T2" fmla="*/ 11148 w 11696"/>
              <a:gd name="T3" fmla="*/ 274 h 2192"/>
              <a:gd name="T4" fmla="*/ 11118 w 11696"/>
              <a:gd name="T5" fmla="*/ 0 h 2192"/>
              <a:gd name="T6" fmla="*/ 11696 w 11696"/>
              <a:gd name="T7" fmla="*/ 439 h 2192"/>
              <a:gd name="T8" fmla="*/ 11241 w 11696"/>
              <a:gd name="T9" fmla="*/ 1096 h 2192"/>
              <a:gd name="T10" fmla="*/ 11210 w 11696"/>
              <a:gd name="T11" fmla="*/ 822 h 2192"/>
              <a:gd name="T12" fmla="*/ 0 w 11696"/>
              <a:gd name="T13" fmla="*/ 2192 h 2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696" h="2192">
                <a:moveTo>
                  <a:pt x="0" y="2192"/>
                </a:moveTo>
                <a:cubicBezTo>
                  <a:pt x="1300" y="1218"/>
                  <a:pt x="5016" y="579"/>
                  <a:pt x="11148" y="274"/>
                </a:cubicBezTo>
                <a:lnTo>
                  <a:pt x="11118" y="0"/>
                </a:lnTo>
                <a:lnTo>
                  <a:pt x="11696" y="439"/>
                </a:lnTo>
                <a:lnTo>
                  <a:pt x="11241" y="1096"/>
                </a:lnTo>
                <a:lnTo>
                  <a:pt x="11210" y="822"/>
                </a:lnTo>
                <a:cubicBezTo>
                  <a:pt x="5686" y="944"/>
                  <a:pt x="1950" y="1401"/>
                  <a:pt x="0" y="2192"/>
                </a:cubicBezTo>
                <a:close/>
              </a:path>
            </a:pathLst>
          </a:custGeom>
          <a:gradFill>
            <a:gsLst>
              <a:gs pos="85000">
                <a:schemeClr val="bg1">
                  <a:lumMod val="65000"/>
                </a:schemeClr>
              </a:gs>
              <a:gs pos="54000">
                <a:schemeClr val="accent3"/>
              </a:gs>
              <a:gs pos="26000">
                <a:srgbClr val="45AC34"/>
              </a:gs>
            </a:gsLst>
            <a:lin ang="13800000" scaled="0"/>
          </a:gradFill>
          <a:ln w="44450" cap="flat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121807" tIns="60904" rIns="121807" bIns="60904" numCol="1" anchor="t" anchorCtr="0" compatLnSpc="1">
            <a:prstTxWarp prst="textNoShape">
              <a:avLst/>
            </a:prstTxWarp>
          </a:bodyPr>
          <a:lstStyle/>
          <a:p>
            <a:endParaRPr lang="en-US" sz="2398"/>
          </a:p>
        </p:txBody>
      </p:sp>
      <p:pic>
        <p:nvPicPr>
          <p:cNvPr id="22553" name="Picture 25">
            <a:extLst>
              <a:ext uri="{FF2B5EF4-FFF2-40B4-BE49-F238E27FC236}">
                <a16:creationId xmlns:a16="http://schemas.microsoft.com/office/drawing/2014/main" id="{51006EB5-969F-43CC-85B3-AC02A3BE02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5313" y="1626327"/>
            <a:ext cx="1648574" cy="1099049"/>
          </a:xfrm>
          <a:prstGeom prst="rect">
            <a:avLst/>
          </a:prstGeom>
          <a:noFill/>
          <a:effectLst>
            <a:softEdge rad="63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97">
            <a:extLst>
              <a:ext uri="{FF2B5EF4-FFF2-40B4-BE49-F238E27FC236}">
                <a16:creationId xmlns:a16="http://schemas.microsoft.com/office/drawing/2014/main" id="{6F41E877-EFDA-4592-BAAE-C74060A97C8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81946" y="1781561"/>
            <a:ext cx="1118283" cy="4925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Rectangle 48">
            <a:extLst>
              <a:ext uri="{FF2B5EF4-FFF2-40B4-BE49-F238E27FC236}">
                <a16:creationId xmlns:a16="http://schemas.microsoft.com/office/drawing/2014/main" id="{3255CBFA-7996-4251-BFFD-249DA223513A}"/>
              </a:ext>
            </a:extLst>
          </p:cNvPr>
          <p:cNvSpPr/>
          <p:nvPr/>
        </p:nvSpPr>
        <p:spPr>
          <a:xfrm>
            <a:off x="10774017" y="0"/>
            <a:ext cx="1411357" cy="39756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2265003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225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225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3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0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2" dur="2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AEF3C7-63C7-4A9A-8AE5-F2A1EA00B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315" y="165100"/>
            <a:ext cx="10248486" cy="1325563"/>
          </a:xfrm>
        </p:spPr>
        <p:txBody>
          <a:bodyPr/>
          <a:lstStyle/>
          <a:p>
            <a:r>
              <a:rPr lang="hu-HU" b="1" dirty="0">
                <a:solidFill>
                  <a:srgbClr val="00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FORMANCE PORTFOLIO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700016B-763B-478A-A5AF-78EE8C265874}"/>
              </a:ext>
            </a:extLst>
          </p:cNvPr>
          <p:cNvSpPr/>
          <p:nvPr/>
        </p:nvSpPr>
        <p:spPr>
          <a:xfrm>
            <a:off x="10825018" y="0"/>
            <a:ext cx="1366982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9" name="Picture 28" descr="A picture containing cow, mammal, standing, brown&#10;&#10;Description automatically generated">
            <a:extLst>
              <a:ext uri="{FF2B5EF4-FFF2-40B4-BE49-F238E27FC236}">
                <a16:creationId xmlns:a16="http://schemas.microsoft.com/office/drawing/2014/main" id="{EEC2502F-0E41-42F4-9704-CD0A3E2576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2460" y="0"/>
            <a:ext cx="2346049" cy="148273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7827AC2-C2B2-46B9-831E-40CF4D07AA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255" y="1490663"/>
            <a:ext cx="10871254" cy="508958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440D703B-49AF-4596-8BE6-2223DDDF5CEA}"/>
              </a:ext>
            </a:extLst>
          </p:cNvPr>
          <p:cNvSpPr txBox="1"/>
          <p:nvPr/>
        </p:nvSpPr>
        <p:spPr>
          <a:xfrm>
            <a:off x="2979995" y="2846043"/>
            <a:ext cx="1909011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AZ ÁLLATOK 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EGÉSZSÉGÉNEK 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Fira Sans" panose="020B05030500000200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hu-HU" sz="14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Fira Sans" panose="020B0503050000020004" pitchFamily="34" charset="0"/>
                <a:ea typeface="+mn-ea"/>
                <a:cs typeface="+mn-cs"/>
              </a:rPr>
              <a:t>TÁMOGATÁSA</a:t>
            </a:r>
            <a:endParaRPr kumimoji="0" lang="hu-HU" sz="1400" b="0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726B0ABE-B79C-48DB-A138-018754D74A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72453" y="4611756"/>
            <a:ext cx="997864" cy="244985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328E719-8BA9-4B14-B389-93BE5CFAEA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9641" y="6166712"/>
            <a:ext cx="1036663" cy="25451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316953A3-2139-471E-B40F-564F844A84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2679" y="4856741"/>
            <a:ext cx="997864" cy="244985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7DABF57F-C093-4061-B21A-6C278A70D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7584" y="5738191"/>
            <a:ext cx="997864" cy="244985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120199FD-D7C9-4850-A8CD-EF266F2993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1669" y="5079488"/>
            <a:ext cx="885435" cy="194796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B70D9B0C-610F-45A3-B7F3-7CACDC3939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5000" y="4831803"/>
            <a:ext cx="722097" cy="204071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0B09B472-8B2A-433F-B5CE-3E4A19F264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018645" y="5957332"/>
            <a:ext cx="696694" cy="363760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BAA5E74-941F-4621-9914-C86985FCAA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62269" y="6381056"/>
            <a:ext cx="871839" cy="208645"/>
          </a:xfrm>
          <a:prstGeom prst="rect">
            <a:avLst/>
          </a:prstGeom>
        </p:spPr>
      </p:pic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49A077D6-47C2-46FA-AF95-F42893871F7D}"/>
              </a:ext>
            </a:extLst>
          </p:cNvPr>
          <p:cNvSpPr/>
          <p:nvPr/>
        </p:nvSpPr>
        <p:spPr>
          <a:xfrm>
            <a:off x="3221033" y="5927065"/>
            <a:ext cx="1231697" cy="602521"/>
          </a:xfrm>
          <a:prstGeom prst="roundRect">
            <a:avLst/>
          </a:prstGeom>
          <a:noFill/>
          <a:ln w="38100">
            <a:solidFill>
              <a:srgbClr val="C00000"/>
            </a:solidFill>
            <a:extLst>
              <a:ext uri="{C807C97D-BFC1-408E-A445-0C87EB9F89A2}">
                <ask:lineSketchStyleProps xmlns:ask="http://schemas.microsoft.com/office/drawing/2018/sketchyshapes" sd="1772922437">
                  <a:custGeom>
                    <a:avLst/>
                    <a:gdLst>
                      <a:gd name="connsiteX0" fmla="*/ 0 w 1231697"/>
                      <a:gd name="connsiteY0" fmla="*/ 100422 h 602521"/>
                      <a:gd name="connsiteX1" fmla="*/ 100422 w 1231697"/>
                      <a:gd name="connsiteY1" fmla="*/ 0 h 602521"/>
                      <a:gd name="connsiteX2" fmla="*/ 1131275 w 1231697"/>
                      <a:gd name="connsiteY2" fmla="*/ 0 h 602521"/>
                      <a:gd name="connsiteX3" fmla="*/ 1231697 w 1231697"/>
                      <a:gd name="connsiteY3" fmla="*/ 100422 h 602521"/>
                      <a:gd name="connsiteX4" fmla="*/ 1231697 w 1231697"/>
                      <a:gd name="connsiteY4" fmla="*/ 502099 h 602521"/>
                      <a:gd name="connsiteX5" fmla="*/ 1131275 w 1231697"/>
                      <a:gd name="connsiteY5" fmla="*/ 602521 h 602521"/>
                      <a:gd name="connsiteX6" fmla="*/ 100422 w 1231697"/>
                      <a:gd name="connsiteY6" fmla="*/ 602521 h 602521"/>
                      <a:gd name="connsiteX7" fmla="*/ 0 w 1231697"/>
                      <a:gd name="connsiteY7" fmla="*/ 502099 h 602521"/>
                      <a:gd name="connsiteX8" fmla="*/ 0 w 1231697"/>
                      <a:gd name="connsiteY8" fmla="*/ 100422 h 60252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231697" h="602521" extrusionOk="0">
                        <a:moveTo>
                          <a:pt x="0" y="100422"/>
                        </a:moveTo>
                        <a:cubicBezTo>
                          <a:pt x="-7357" y="50815"/>
                          <a:pt x="48359" y="5357"/>
                          <a:pt x="100422" y="0"/>
                        </a:cubicBezTo>
                        <a:cubicBezTo>
                          <a:pt x="318237" y="-2021"/>
                          <a:pt x="953780" y="-70783"/>
                          <a:pt x="1131275" y="0"/>
                        </a:cubicBezTo>
                        <a:cubicBezTo>
                          <a:pt x="1180214" y="5229"/>
                          <a:pt x="1228591" y="38918"/>
                          <a:pt x="1231697" y="100422"/>
                        </a:cubicBezTo>
                        <a:cubicBezTo>
                          <a:pt x="1229314" y="179433"/>
                          <a:pt x="1252958" y="408568"/>
                          <a:pt x="1231697" y="502099"/>
                        </a:cubicBezTo>
                        <a:cubicBezTo>
                          <a:pt x="1236753" y="563396"/>
                          <a:pt x="1192422" y="602213"/>
                          <a:pt x="1131275" y="602521"/>
                        </a:cubicBezTo>
                        <a:cubicBezTo>
                          <a:pt x="947280" y="550373"/>
                          <a:pt x="403086" y="542231"/>
                          <a:pt x="100422" y="602521"/>
                        </a:cubicBezTo>
                        <a:cubicBezTo>
                          <a:pt x="50248" y="603124"/>
                          <a:pt x="5341" y="560053"/>
                          <a:pt x="0" y="502099"/>
                        </a:cubicBezTo>
                        <a:cubicBezTo>
                          <a:pt x="22958" y="301864"/>
                          <a:pt x="10484" y="225346"/>
                          <a:pt x="0" y="100422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hu-H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EC9CACC0-08AA-4512-9D3B-2B543BAA1A25}"/>
              </a:ext>
            </a:extLst>
          </p:cNvPr>
          <p:cNvSpPr/>
          <p:nvPr/>
        </p:nvSpPr>
        <p:spPr>
          <a:xfrm rot="19183048">
            <a:off x="4277277" y="4951038"/>
            <a:ext cx="1884833" cy="292075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7" name="Arrow: Right 16">
            <a:extLst>
              <a:ext uri="{FF2B5EF4-FFF2-40B4-BE49-F238E27FC236}">
                <a16:creationId xmlns:a16="http://schemas.microsoft.com/office/drawing/2014/main" id="{0C24268E-53C6-405F-887A-4B08E8CEE71B}"/>
              </a:ext>
            </a:extLst>
          </p:cNvPr>
          <p:cNvSpPr/>
          <p:nvPr/>
        </p:nvSpPr>
        <p:spPr>
          <a:xfrm rot="21186867">
            <a:off x="4678698" y="5730202"/>
            <a:ext cx="2366440" cy="282417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sp>
        <p:nvSpPr>
          <p:cNvPr id="18" name="Arrow: Right 17">
            <a:extLst>
              <a:ext uri="{FF2B5EF4-FFF2-40B4-BE49-F238E27FC236}">
                <a16:creationId xmlns:a16="http://schemas.microsoft.com/office/drawing/2014/main" id="{06C8A635-99B6-4957-974F-26FE60D74EE2}"/>
              </a:ext>
            </a:extLst>
          </p:cNvPr>
          <p:cNvSpPr/>
          <p:nvPr/>
        </p:nvSpPr>
        <p:spPr>
          <a:xfrm rot="16200000">
            <a:off x="3701024" y="4937658"/>
            <a:ext cx="992883" cy="289639"/>
          </a:xfrm>
          <a:prstGeom prst="rightArrow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C2D7677-D680-45A7-83D3-E2E5BB9FAA0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94224" y="1481210"/>
            <a:ext cx="4544671" cy="2887203"/>
          </a:xfrm>
          <a:prstGeom prst="rect">
            <a:avLst/>
          </a:prstGeom>
        </p:spPr>
      </p:pic>
      <p:pic>
        <p:nvPicPr>
          <p:cNvPr id="102404" name="Picture 4" descr="PDF] Necrotic enteritis in chickens: an important disease caused by  Clostridium perfringens | Semantic Scholar">
            <a:extLst>
              <a:ext uri="{FF2B5EF4-FFF2-40B4-BE49-F238E27FC236}">
                <a16:creationId xmlns:a16="http://schemas.microsoft.com/office/drawing/2014/main" id="{E0BB3519-F929-4A97-AA4E-0249D9959C6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9986" y="477656"/>
            <a:ext cx="3749295" cy="35102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406" name="Picture 6" descr="Molecular Survey of Bacterial Communities Associated with Bacterial  Chondronecrosis with Osteomyelitis (BCO) in Broilers | PLOS ONE">
            <a:extLst>
              <a:ext uri="{FF2B5EF4-FFF2-40B4-BE49-F238E27FC236}">
                <a16:creationId xmlns:a16="http://schemas.microsoft.com/office/drawing/2014/main" id="{F783B779-BD0A-4720-A7A0-3E06BEAD8F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6781" y="4138612"/>
            <a:ext cx="3048000" cy="24574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21451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024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024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024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024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  <p:bldP spid="3" grpId="0" animBg="1"/>
      <p:bldP spid="17" grpId="0" animBg="1"/>
      <p:bldP spid="18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AEF3C7-63C7-4A9A-8AE5-F2A1EA00B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5315" y="165100"/>
            <a:ext cx="10248486" cy="1325563"/>
          </a:xfrm>
        </p:spPr>
        <p:txBody>
          <a:bodyPr/>
          <a:lstStyle/>
          <a:p>
            <a:r>
              <a:rPr lang="hu-HU" b="1" dirty="0">
                <a:solidFill>
                  <a:srgbClr val="00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FORMANCE PORTFOLIO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700016B-763B-478A-A5AF-78EE8C265874}"/>
              </a:ext>
            </a:extLst>
          </p:cNvPr>
          <p:cNvSpPr/>
          <p:nvPr/>
        </p:nvSpPr>
        <p:spPr>
          <a:xfrm>
            <a:off x="10825018" y="0"/>
            <a:ext cx="1366982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pic>
        <p:nvPicPr>
          <p:cNvPr id="29" name="Picture 28" descr="A picture containing cow, mammal, standing, brown&#10;&#10;Description automatically generated">
            <a:extLst>
              <a:ext uri="{FF2B5EF4-FFF2-40B4-BE49-F238E27FC236}">
                <a16:creationId xmlns:a16="http://schemas.microsoft.com/office/drawing/2014/main" id="{EEC2502F-0E41-42F4-9704-CD0A3E2576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2460" y="0"/>
            <a:ext cx="2346049" cy="1482734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67827AC2-C2B2-46B9-831E-40CF4D07AA2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7255" y="1490663"/>
            <a:ext cx="10871254" cy="5089585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440D703B-49AF-4596-8BE6-2223DDDF5CEA}"/>
              </a:ext>
            </a:extLst>
          </p:cNvPr>
          <p:cNvSpPr txBox="1"/>
          <p:nvPr/>
        </p:nvSpPr>
        <p:spPr>
          <a:xfrm>
            <a:off x="2979995" y="2846043"/>
            <a:ext cx="1909011" cy="7386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hu-HU" sz="1400" b="1" i="0" u="none" strike="noStrike" baseline="0" dirty="0">
                <a:solidFill>
                  <a:srgbClr val="C00000"/>
                </a:solidFill>
                <a:latin typeface="Fira Sans" panose="020B0503050000020004" pitchFamily="34" charset="0"/>
              </a:rPr>
              <a:t>AZ ÁLLATOK </a:t>
            </a:r>
            <a:endParaRPr lang="hu-HU" sz="1400" b="0" i="0" u="none" strike="noStrike" baseline="0" dirty="0">
              <a:solidFill>
                <a:srgbClr val="C00000"/>
              </a:solidFill>
              <a:latin typeface="Fira Sans" panose="020B0503050000020004" pitchFamily="34" charset="0"/>
            </a:endParaRPr>
          </a:p>
          <a:p>
            <a:pPr algn="ctr"/>
            <a:r>
              <a:rPr lang="hu-HU" sz="1400" b="1" i="0" u="none" strike="noStrike" baseline="0" dirty="0">
                <a:solidFill>
                  <a:srgbClr val="C00000"/>
                </a:solidFill>
                <a:latin typeface="Fira Sans" panose="020B0503050000020004" pitchFamily="34" charset="0"/>
              </a:rPr>
              <a:t>EGÉSZSÉGÉNEK </a:t>
            </a:r>
            <a:endParaRPr lang="hu-HU" sz="1400" b="0" i="0" u="none" strike="noStrike" baseline="0" dirty="0">
              <a:solidFill>
                <a:srgbClr val="C00000"/>
              </a:solidFill>
              <a:latin typeface="Fira Sans" panose="020B0503050000020004" pitchFamily="34" charset="0"/>
            </a:endParaRPr>
          </a:p>
          <a:p>
            <a:pPr algn="ctr"/>
            <a:r>
              <a:rPr lang="hu-HU" sz="1400" b="1" i="0" u="none" strike="noStrike" baseline="0" dirty="0">
                <a:solidFill>
                  <a:srgbClr val="C00000"/>
                </a:solidFill>
                <a:latin typeface="Fira Sans" panose="020B0503050000020004" pitchFamily="34" charset="0"/>
              </a:rPr>
              <a:t>TÁMOGATÁSA</a:t>
            </a:r>
            <a:endParaRPr lang="hu-HU" sz="1400" dirty="0">
              <a:solidFill>
                <a:srgbClr val="C00000"/>
              </a:solidFill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726B0ABE-B79C-48DB-A138-018754D74A9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72453" y="4611756"/>
            <a:ext cx="997864" cy="244985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328E719-8BA9-4B14-B389-93BE5CFAEA5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99641" y="6166712"/>
            <a:ext cx="1036663" cy="254510"/>
          </a:xfrm>
          <a:prstGeom prst="rect">
            <a:avLst/>
          </a:prstGeom>
        </p:spPr>
      </p:pic>
      <p:pic>
        <p:nvPicPr>
          <p:cNvPr id="41" name="Picture 40">
            <a:extLst>
              <a:ext uri="{FF2B5EF4-FFF2-40B4-BE49-F238E27FC236}">
                <a16:creationId xmlns:a16="http://schemas.microsoft.com/office/drawing/2014/main" id="{316953A3-2139-471E-B40F-564F844A841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12679" y="4856741"/>
            <a:ext cx="997864" cy="244985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7DABF57F-C093-4061-B21A-6C278A70D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847584" y="5738191"/>
            <a:ext cx="997864" cy="244985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120199FD-D7C9-4850-A8CD-EF266F2993B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1669" y="5079488"/>
            <a:ext cx="885435" cy="194796"/>
          </a:xfrm>
          <a:prstGeom prst="rect">
            <a:avLst/>
          </a:prstGeom>
        </p:spPr>
      </p:pic>
      <p:pic>
        <p:nvPicPr>
          <p:cNvPr id="50" name="Picture 49">
            <a:extLst>
              <a:ext uri="{FF2B5EF4-FFF2-40B4-BE49-F238E27FC236}">
                <a16:creationId xmlns:a16="http://schemas.microsoft.com/office/drawing/2014/main" id="{B70D9B0C-610F-45A3-B7F3-7CACDC3939F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5000" y="4831803"/>
            <a:ext cx="722097" cy="204071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0B09B472-8B2A-433F-B5CE-3E4A19F264C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978889" y="5957332"/>
            <a:ext cx="811540" cy="423724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BAA5E74-941F-4621-9914-C86985FCAA8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62269" y="6381056"/>
            <a:ext cx="871839" cy="208645"/>
          </a:xfrm>
          <a:prstGeom prst="rect">
            <a:avLst/>
          </a:prstGeom>
        </p:spPr>
      </p:pic>
      <p:sp>
        <p:nvSpPr>
          <p:cNvPr id="56" name="Rectangle: Rounded Corners 55">
            <a:extLst>
              <a:ext uri="{FF2B5EF4-FFF2-40B4-BE49-F238E27FC236}">
                <a16:creationId xmlns:a16="http://schemas.microsoft.com/office/drawing/2014/main" id="{49A077D6-47C2-46FA-AF95-F42893871F7D}"/>
              </a:ext>
            </a:extLst>
          </p:cNvPr>
          <p:cNvSpPr/>
          <p:nvPr/>
        </p:nvSpPr>
        <p:spPr>
          <a:xfrm>
            <a:off x="9785855" y="6122577"/>
            <a:ext cx="1227946" cy="440091"/>
          </a:xfrm>
          <a:prstGeom prst="roundRect">
            <a:avLst/>
          </a:prstGeom>
          <a:noFill/>
          <a:ln w="38100">
            <a:solidFill>
              <a:srgbClr val="C00000"/>
            </a:solidFill>
            <a:extLst>
              <a:ext uri="{C807C97D-BFC1-408E-A445-0C87EB9F89A2}">
                <ask:lineSketchStyleProps xmlns:ask="http://schemas.microsoft.com/office/drawing/2018/sketchyshapes" sd="1772922437">
                  <a:custGeom>
                    <a:avLst/>
                    <a:gdLst>
                      <a:gd name="connsiteX0" fmla="*/ 0 w 1227946"/>
                      <a:gd name="connsiteY0" fmla="*/ 73350 h 440091"/>
                      <a:gd name="connsiteX1" fmla="*/ 73350 w 1227946"/>
                      <a:gd name="connsiteY1" fmla="*/ 0 h 440091"/>
                      <a:gd name="connsiteX2" fmla="*/ 1154596 w 1227946"/>
                      <a:gd name="connsiteY2" fmla="*/ 0 h 440091"/>
                      <a:gd name="connsiteX3" fmla="*/ 1227946 w 1227946"/>
                      <a:gd name="connsiteY3" fmla="*/ 73350 h 440091"/>
                      <a:gd name="connsiteX4" fmla="*/ 1227946 w 1227946"/>
                      <a:gd name="connsiteY4" fmla="*/ 366741 h 440091"/>
                      <a:gd name="connsiteX5" fmla="*/ 1154596 w 1227946"/>
                      <a:gd name="connsiteY5" fmla="*/ 440091 h 440091"/>
                      <a:gd name="connsiteX6" fmla="*/ 73350 w 1227946"/>
                      <a:gd name="connsiteY6" fmla="*/ 440091 h 440091"/>
                      <a:gd name="connsiteX7" fmla="*/ 0 w 1227946"/>
                      <a:gd name="connsiteY7" fmla="*/ 366741 h 440091"/>
                      <a:gd name="connsiteX8" fmla="*/ 0 w 1227946"/>
                      <a:gd name="connsiteY8" fmla="*/ 73350 h 44009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227946" h="440091" extrusionOk="0">
                        <a:moveTo>
                          <a:pt x="0" y="73350"/>
                        </a:moveTo>
                        <a:cubicBezTo>
                          <a:pt x="-977" y="33617"/>
                          <a:pt x="33334" y="779"/>
                          <a:pt x="73350" y="0"/>
                        </a:cubicBezTo>
                        <a:cubicBezTo>
                          <a:pt x="426819" y="-65637"/>
                          <a:pt x="1041153" y="90092"/>
                          <a:pt x="1154596" y="0"/>
                        </a:cubicBezTo>
                        <a:cubicBezTo>
                          <a:pt x="1189597" y="4416"/>
                          <a:pt x="1225322" y="27735"/>
                          <a:pt x="1227946" y="73350"/>
                        </a:cubicBezTo>
                        <a:cubicBezTo>
                          <a:pt x="1226002" y="182677"/>
                          <a:pt x="1247421" y="299358"/>
                          <a:pt x="1227946" y="366741"/>
                        </a:cubicBezTo>
                        <a:cubicBezTo>
                          <a:pt x="1230555" y="410262"/>
                          <a:pt x="1197146" y="439980"/>
                          <a:pt x="1154596" y="440091"/>
                        </a:cubicBezTo>
                        <a:cubicBezTo>
                          <a:pt x="635214" y="482634"/>
                          <a:pt x="577501" y="391614"/>
                          <a:pt x="73350" y="440091"/>
                        </a:cubicBezTo>
                        <a:cubicBezTo>
                          <a:pt x="34232" y="440250"/>
                          <a:pt x="5289" y="409718"/>
                          <a:pt x="0" y="366741"/>
                        </a:cubicBezTo>
                        <a:cubicBezTo>
                          <a:pt x="1749" y="333564"/>
                          <a:pt x="-11714" y="178135"/>
                          <a:pt x="0" y="73350"/>
                        </a:cubicBezTo>
                        <a:close/>
                      </a:path>
                    </a:pathLst>
                  </a:custGeom>
                  <ask:type>
                    <ask:lineSketchNone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  <p:pic>
        <p:nvPicPr>
          <p:cNvPr id="104450" name="Picture 2" descr="DSM NV: Staying Resilient Through The Downcycle (OTCMKTS:KDSKF) | Seeking  Alpha">
            <a:extLst>
              <a:ext uri="{FF2B5EF4-FFF2-40B4-BE49-F238E27FC236}">
                <a16:creationId xmlns:a16="http://schemas.microsoft.com/office/drawing/2014/main" id="{6EA46605-3673-479F-AE6C-90A9DEECF63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987717">
            <a:off x="346264" y="1978595"/>
            <a:ext cx="11488695" cy="3006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Arrow: Right 2">
            <a:extLst>
              <a:ext uri="{FF2B5EF4-FFF2-40B4-BE49-F238E27FC236}">
                <a16:creationId xmlns:a16="http://schemas.microsoft.com/office/drawing/2014/main" id="{4337982D-B608-466E-9147-F12C922A8C45}"/>
              </a:ext>
            </a:extLst>
          </p:cNvPr>
          <p:cNvSpPr/>
          <p:nvPr/>
        </p:nvSpPr>
        <p:spPr>
          <a:xfrm rot="12746387">
            <a:off x="7603195" y="5325487"/>
            <a:ext cx="2051063" cy="484632"/>
          </a:xfrm>
          <a:prstGeom prst="rightArrow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529074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4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044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44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  <p:bldP spid="3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phic 11">
            <a:extLst>
              <a:ext uri="{FF2B5EF4-FFF2-40B4-BE49-F238E27FC236}">
                <a16:creationId xmlns:a16="http://schemas.microsoft.com/office/drawing/2014/main" id="{E5D59DA7-0A4A-CB47-A519-9F8E91CA2A7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8138" t="4992" r="45258" b="3617"/>
          <a:stretch/>
        </p:blipFill>
        <p:spPr>
          <a:xfrm>
            <a:off x="0" y="0"/>
            <a:ext cx="4014788" cy="685800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id="{CC87F24E-5FB5-1B40-A18A-54A73A43407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rcRect l="35614" t="4305" r="36813" b="4305"/>
          <a:stretch/>
        </p:blipFill>
        <p:spPr>
          <a:xfrm>
            <a:off x="4014788" y="0"/>
            <a:ext cx="4014789" cy="6858000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9BC1F414-2294-A64E-B70A-22EF8E421507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33239" t="11930" r="43444" b="8007"/>
          <a:stretch/>
        </p:blipFill>
        <p:spPr>
          <a:xfrm>
            <a:off x="8029577" y="-6693"/>
            <a:ext cx="4166486" cy="6864693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8E02E9C0-58D8-554D-ADDA-5C8DFDF5E4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418668" y="2869389"/>
            <a:ext cx="2013528" cy="713125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344B1287-3271-F645-9858-D2FCC22D213E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403879" y="2869389"/>
            <a:ext cx="2810549" cy="1132609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36CE56AD-DFFD-8940-8FB5-051C3A14353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82957" y="2869389"/>
            <a:ext cx="2013528" cy="713125"/>
          </a:xfrm>
          <a:prstGeom prst="rect">
            <a:avLst/>
          </a:prstGeom>
        </p:spPr>
      </p:pic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9F145678-9289-C541-A573-79D22E14983D}"/>
              </a:ext>
            </a:extLst>
          </p:cNvPr>
          <p:cNvSpPr txBox="1">
            <a:spLocks/>
          </p:cNvSpPr>
          <p:nvPr/>
        </p:nvSpPr>
        <p:spPr bwMode="white">
          <a:xfrm>
            <a:off x="382957" y="4499811"/>
            <a:ext cx="3510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Light" panose="020B0403050000020004" pitchFamily="34" charset="0"/>
                <a:ea typeface="+mn-ea"/>
                <a:cs typeface="+mn-cs"/>
              </a:rPr>
              <a:t>A kiegyensúlyozott fejlődésér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 Light" panose="020B0403050000020004" pitchFamily="34" charset="0"/>
              <a:ea typeface="+mn-ea"/>
              <a:cs typeface="+mn-cs"/>
            </a:endParaRP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3CC9BE0D-D7CC-8940-AAE7-55190A4B0F1E}"/>
              </a:ext>
            </a:extLst>
          </p:cNvPr>
          <p:cNvSpPr txBox="1">
            <a:spLocks/>
          </p:cNvSpPr>
          <p:nvPr/>
        </p:nvSpPr>
        <p:spPr bwMode="white">
          <a:xfrm>
            <a:off x="4397745" y="4499810"/>
            <a:ext cx="3510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hu-HU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Light" panose="020B0403050000020004" pitchFamily="34" charset="0"/>
                <a:ea typeface="+mn-ea"/>
                <a:cs typeface="+mn-cs"/>
              </a:rPr>
              <a:t>Az előremutató megoldásokér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 Light" panose="020B0403050000020004" pitchFamily="34" charset="0"/>
              <a:ea typeface="+mn-ea"/>
              <a:cs typeface="+mn-cs"/>
            </a:endParaRP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B3F8331-5E50-5146-BB0B-3735DFAD3504}"/>
              </a:ext>
            </a:extLst>
          </p:cNvPr>
          <p:cNvSpPr txBox="1">
            <a:spLocks/>
          </p:cNvSpPr>
          <p:nvPr/>
        </p:nvSpPr>
        <p:spPr bwMode="white">
          <a:xfrm>
            <a:off x="8533416" y="4499809"/>
            <a:ext cx="3510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hu-HU" sz="2000" dirty="0">
                <a:solidFill>
                  <a:srgbClr val="FFFFFF"/>
                </a:solidFill>
                <a:latin typeface="Fira Sans Light" panose="020B0403050000020004" pitchFamily="34" charset="0"/>
              </a:rPr>
              <a:t>A célzott információkér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 Light" panose="020B040305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647677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E125F3-8AF6-AE47-993B-C00610A5A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BC1F414-2294-A64E-B70A-22EF8E42150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33239" t="11930" r="43444" b="8007"/>
          <a:stretch/>
        </p:blipFill>
        <p:spPr>
          <a:xfrm>
            <a:off x="0" y="-6693"/>
            <a:ext cx="12196063" cy="6864693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8E02E9C0-58D8-554D-ADDA-5C8DFDF5E4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418668" y="2869389"/>
            <a:ext cx="2013528" cy="713125"/>
          </a:xfrm>
          <a:prstGeom prst="rect">
            <a:avLst/>
          </a:prstGeom>
        </p:spPr>
      </p:pic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1B3F8331-5E50-5146-BB0B-3735DFAD3504}"/>
              </a:ext>
            </a:extLst>
          </p:cNvPr>
          <p:cNvSpPr txBox="1">
            <a:spLocks/>
          </p:cNvSpPr>
          <p:nvPr/>
        </p:nvSpPr>
        <p:spPr bwMode="white">
          <a:xfrm>
            <a:off x="8533416" y="4499809"/>
            <a:ext cx="3510949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800" b="0" i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90612" indent="-28575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76325" indent="-271463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hu-HU" sz="2000" dirty="0">
                <a:solidFill>
                  <a:srgbClr val="FFFFFF"/>
                </a:solidFill>
                <a:latin typeface="Fira Sans Light" panose="020B0403050000020004" pitchFamily="34" charset="0"/>
              </a:rPr>
              <a:t>A célzott információkért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 Light" panose="020B04030500000200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1643222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C59DE8-2E79-4417-AD62-8E724E579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373" y="877592"/>
            <a:ext cx="11796644" cy="581446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30A7FB-CC39-48E1-9F8F-B35325247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9FC752-3C66-4395-996D-7156C2426E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6836" y="426328"/>
            <a:ext cx="9088524" cy="609398"/>
          </a:xfrm>
        </p:spPr>
        <p:txBody>
          <a:bodyPr/>
          <a:lstStyle/>
          <a:p>
            <a:r>
              <a:rPr lang="hu-HU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Szolgáltatások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83213B-1D98-4D3F-AF3F-A7BC570D9470}"/>
              </a:ext>
            </a:extLst>
          </p:cNvPr>
          <p:cNvSpPr txBox="1"/>
          <p:nvPr/>
        </p:nvSpPr>
        <p:spPr>
          <a:xfrm>
            <a:off x="1649625" y="5845920"/>
            <a:ext cx="30861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hu-HU" sz="2800" b="1" dirty="0">
                <a:solidFill>
                  <a:srgbClr val="FF0000"/>
                </a:solidFill>
              </a:rPr>
              <a:t> Customer Port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A8D6FE-422A-44D1-902A-A061DFC7D8A6}"/>
              </a:ext>
            </a:extLst>
          </p:cNvPr>
          <p:cNvSpPr/>
          <p:nvPr/>
        </p:nvSpPr>
        <p:spPr>
          <a:xfrm>
            <a:off x="10492451" y="0"/>
            <a:ext cx="1677971" cy="584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C25EF3-4D41-4B48-8374-21D630B9D8FB}"/>
              </a:ext>
            </a:extLst>
          </p:cNvPr>
          <p:cNvSpPr/>
          <p:nvPr/>
        </p:nvSpPr>
        <p:spPr>
          <a:xfrm>
            <a:off x="7038351" y="6048209"/>
            <a:ext cx="2065892" cy="643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105474" name="Picture 2" descr="NIRS DS2500 Liquid Analyzer | Metrohm">
            <a:extLst>
              <a:ext uri="{FF2B5EF4-FFF2-40B4-BE49-F238E27FC236}">
                <a16:creationId xmlns:a16="http://schemas.microsoft.com/office/drawing/2014/main" id="{42D822F4-0A6F-4A1D-9ACB-2C074D2309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5552" y="1328857"/>
            <a:ext cx="7988589" cy="44857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9BCA1C93-C8A8-44F6-9D6C-BBD7BE0554C1}"/>
              </a:ext>
            </a:extLst>
          </p:cNvPr>
          <p:cNvSpPr/>
          <p:nvPr/>
        </p:nvSpPr>
        <p:spPr>
          <a:xfrm>
            <a:off x="1377072" y="4016194"/>
            <a:ext cx="1535094" cy="52322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34816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4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054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054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C59DE8-2E79-4417-AD62-8E724E579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373" y="877592"/>
            <a:ext cx="11796644" cy="581446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30A7FB-CC39-48E1-9F8F-B35325247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83213B-1D98-4D3F-AF3F-A7BC570D9470}"/>
              </a:ext>
            </a:extLst>
          </p:cNvPr>
          <p:cNvSpPr txBox="1"/>
          <p:nvPr/>
        </p:nvSpPr>
        <p:spPr>
          <a:xfrm>
            <a:off x="1649625" y="5845920"/>
            <a:ext cx="30861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hu-HU" sz="2800" b="1" dirty="0">
                <a:solidFill>
                  <a:srgbClr val="FF0000"/>
                </a:solidFill>
              </a:rPr>
              <a:t> Customer Port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A8D6FE-422A-44D1-902A-A061DFC7D8A6}"/>
              </a:ext>
            </a:extLst>
          </p:cNvPr>
          <p:cNvSpPr/>
          <p:nvPr/>
        </p:nvSpPr>
        <p:spPr>
          <a:xfrm>
            <a:off x="10492451" y="0"/>
            <a:ext cx="1677971" cy="584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C25EF3-4D41-4B48-8374-21D630B9D8FB}"/>
              </a:ext>
            </a:extLst>
          </p:cNvPr>
          <p:cNvSpPr/>
          <p:nvPr/>
        </p:nvSpPr>
        <p:spPr>
          <a:xfrm>
            <a:off x="7038351" y="6048209"/>
            <a:ext cx="2065892" cy="643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BCA1C93-C8A8-44F6-9D6C-BBD7BE0554C1}"/>
              </a:ext>
            </a:extLst>
          </p:cNvPr>
          <p:cNvSpPr/>
          <p:nvPr/>
        </p:nvSpPr>
        <p:spPr>
          <a:xfrm>
            <a:off x="1649625" y="4304429"/>
            <a:ext cx="1535094" cy="523220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555CA962-CF99-48FB-A658-BE697534EE2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84719" y="2873737"/>
            <a:ext cx="5138142" cy="3742874"/>
          </a:xfrm>
          <a:prstGeom prst="rect">
            <a:avLst/>
          </a:prstGeom>
          <a:ln w="19050">
            <a:solidFill>
              <a:schemeClr val="bg1"/>
            </a:solidFill>
          </a:ln>
        </p:spPr>
      </p:pic>
      <p:pic>
        <p:nvPicPr>
          <p:cNvPr id="106498" name="Picture 2" descr="Citrine MS/MS – your Medical Diagnostic mass spectrometer •  healthcare-in-europe.com">
            <a:extLst>
              <a:ext uri="{FF2B5EF4-FFF2-40B4-BE49-F238E27FC236}">
                <a16:creationId xmlns:a16="http://schemas.microsoft.com/office/drawing/2014/main" id="{8783CF06-E874-4979-BB81-B5EB360332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4617" y="584461"/>
            <a:ext cx="7766444" cy="4659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C7C5878B-7020-4ECA-8241-6ED43509FCCF}"/>
              </a:ext>
            </a:extLst>
          </p:cNvPr>
          <p:cNvSpPr txBox="1">
            <a:spLocks/>
          </p:cNvSpPr>
          <p:nvPr/>
        </p:nvSpPr>
        <p:spPr bwMode="white">
          <a:xfrm>
            <a:off x="1126836" y="426328"/>
            <a:ext cx="9088524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 baseline="0">
                <a:solidFill>
                  <a:schemeClr val="bg1"/>
                </a:solidFill>
                <a:latin typeface="Fira Sans Medium" panose="020B0503050000020004" pitchFamily="34" charset="0"/>
                <a:ea typeface="+mj-ea"/>
                <a:cs typeface="+mj-cs"/>
              </a:defRPr>
            </a:lvl1pPr>
          </a:lstStyle>
          <a:p>
            <a:r>
              <a:rPr lang="hu-HU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Szolgáltatások</a:t>
            </a:r>
          </a:p>
        </p:txBody>
      </p:sp>
    </p:spTree>
    <p:extLst>
      <p:ext uri="{BB962C8B-B14F-4D97-AF65-F5344CB8AC3E}">
        <p14:creationId xmlns:p14="http://schemas.microsoft.com/office/powerpoint/2010/main" val="10636138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6" presetClass="entr" presetSubtype="2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4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1064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C59DE8-2E79-4417-AD62-8E724E579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373" y="877592"/>
            <a:ext cx="11796644" cy="581446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30A7FB-CC39-48E1-9F8F-B35325247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83213B-1D98-4D3F-AF3F-A7BC570D9470}"/>
              </a:ext>
            </a:extLst>
          </p:cNvPr>
          <p:cNvSpPr txBox="1"/>
          <p:nvPr/>
        </p:nvSpPr>
        <p:spPr>
          <a:xfrm>
            <a:off x="1649625" y="5845920"/>
            <a:ext cx="30861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hu-HU" sz="2800" b="1" dirty="0">
                <a:solidFill>
                  <a:srgbClr val="FF0000"/>
                </a:solidFill>
              </a:rPr>
              <a:t> Customer Port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A8D6FE-422A-44D1-902A-A061DFC7D8A6}"/>
              </a:ext>
            </a:extLst>
          </p:cNvPr>
          <p:cNvSpPr/>
          <p:nvPr/>
        </p:nvSpPr>
        <p:spPr>
          <a:xfrm>
            <a:off x="10492451" y="0"/>
            <a:ext cx="1677971" cy="584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C25EF3-4D41-4B48-8374-21D630B9D8FB}"/>
              </a:ext>
            </a:extLst>
          </p:cNvPr>
          <p:cNvSpPr/>
          <p:nvPr/>
        </p:nvSpPr>
        <p:spPr>
          <a:xfrm>
            <a:off x="7038351" y="6048209"/>
            <a:ext cx="2065892" cy="643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BCA1C93-C8A8-44F6-9D6C-BBD7BE0554C1}"/>
              </a:ext>
            </a:extLst>
          </p:cNvPr>
          <p:cNvSpPr/>
          <p:nvPr/>
        </p:nvSpPr>
        <p:spPr>
          <a:xfrm>
            <a:off x="1470991" y="4492487"/>
            <a:ext cx="1878495" cy="775252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2F52FC55-819D-480A-9E5A-2E2154E93C2A}"/>
              </a:ext>
            </a:extLst>
          </p:cNvPr>
          <p:cNvSpPr/>
          <p:nvPr/>
        </p:nvSpPr>
        <p:spPr>
          <a:xfrm>
            <a:off x="3826566" y="3017815"/>
            <a:ext cx="2530060" cy="1557295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6" name="Title 3">
            <a:extLst>
              <a:ext uri="{FF2B5EF4-FFF2-40B4-BE49-F238E27FC236}">
                <a16:creationId xmlns:a16="http://schemas.microsoft.com/office/drawing/2014/main" id="{31E6D9F0-FEA7-4634-8998-B105A43AC2EE}"/>
              </a:ext>
            </a:extLst>
          </p:cNvPr>
          <p:cNvSpPr txBox="1">
            <a:spLocks/>
          </p:cNvSpPr>
          <p:nvPr/>
        </p:nvSpPr>
        <p:spPr bwMode="white">
          <a:xfrm>
            <a:off x="1126836" y="426328"/>
            <a:ext cx="9088524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 baseline="0">
                <a:solidFill>
                  <a:schemeClr val="bg1"/>
                </a:solidFill>
                <a:latin typeface="Fira Sans Medium" panose="020B0503050000020004" pitchFamily="34" charset="0"/>
                <a:ea typeface="+mj-ea"/>
                <a:cs typeface="+mj-cs"/>
              </a:defRPr>
            </a:lvl1pPr>
          </a:lstStyle>
          <a:p>
            <a:r>
              <a:rPr lang="hu-HU">
                <a:solidFill>
                  <a:schemeClr val="accent4">
                    <a:lumMod val="40000"/>
                    <a:lumOff val="60000"/>
                  </a:schemeClr>
                </a:solidFill>
              </a:rPr>
              <a:t>Szolgáltatások</a:t>
            </a:r>
            <a:endParaRPr lang="hu-HU" dirty="0">
              <a:solidFill>
                <a:schemeClr val="accent4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255C734-36B4-4BCD-87E0-359FDC6AA21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8000" y="742850"/>
            <a:ext cx="9327666" cy="539594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glow rad="101600">
              <a:schemeClr val="accent1">
                <a:satMod val="175000"/>
                <a:alpha val="40000"/>
              </a:schemeClr>
            </a:glow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BF1C237-AD20-48F6-BB3C-6DDCDD072AB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033444" y="165948"/>
            <a:ext cx="6421058" cy="65140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glow rad="139700">
              <a:schemeClr val="accent1">
                <a:satMod val="175000"/>
                <a:alpha val="40000"/>
              </a:schemeClr>
            </a:glow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2920976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C59DE8-2E79-4417-AD62-8E724E579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373" y="877592"/>
            <a:ext cx="11796644" cy="581446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30A7FB-CC39-48E1-9F8F-B35325247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9FC752-3C66-4395-996D-7156C2426E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6836" y="426328"/>
            <a:ext cx="9088524" cy="609398"/>
          </a:xfrm>
        </p:spPr>
        <p:txBody>
          <a:bodyPr/>
          <a:lstStyle/>
          <a:p>
            <a:r>
              <a:rPr lang="hu-HU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Szolgáltatások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83213B-1D98-4D3F-AF3F-A7BC570D9470}"/>
              </a:ext>
            </a:extLst>
          </p:cNvPr>
          <p:cNvSpPr txBox="1"/>
          <p:nvPr/>
        </p:nvSpPr>
        <p:spPr>
          <a:xfrm>
            <a:off x="1649625" y="5845920"/>
            <a:ext cx="30861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hu-HU" sz="2800" b="1" dirty="0">
                <a:solidFill>
                  <a:srgbClr val="FF0000"/>
                </a:solidFill>
              </a:rPr>
              <a:t> Customer Port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A8D6FE-422A-44D1-902A-A061DFC7D8A6}"/>
              </a:ext>
            </a:extLst>
          </p:cNvPr>
          <p:cNvSpPr/>
          <p:nvPr/>
        </p:nvSpPr>
        <p:spPr>
          <a:xfrm>
            <a:off x="10492451" y="0"/>
            <a:ext cx="1677971" cy="584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C25EF3-4D41-4B48-8374-21D630B9D8FB}"/>
              </a:ext>
            </a:extLst>
          </p:cNvPr>
          <p:cNvSpPr/>
          <p:nvPr/>
        </p:nvSpPr>
        <p:spPr>
          <a:xfrm>
            <a:off x="7038351" y="6048209"/>
            <a:ext cx="2065892" cy="643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BCA1C93-C8A8-44F6-9D6C-BBD7BE0554C1}"/>
              </a:ext>
            </a:extLst>
          </p:cNvPr>
          <p:cNvSpPr/>
          <p:nvPr/>
        </p:nvSpPr>
        <p:spPr>
          <a:xfrm>
            <a:off x="8846653" y="3200400"/>
            <a:ext cx="2484783" cy="2701243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D3FE6DC-9D60-4659-9F16-679CB60DC0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68183" y="1328857"/>
            <a:ext cx="11939389" cy="45727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4546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78C59DE8-2E79-4417-AD62-8E724E579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0373" y="877592"/>
            <a:ext cx="11796644" cy="5814460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30A7FB-CC39-48E1-9F8F-B353252479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118D48E-C7CB-6244-969D-7BAEA9B622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"/>
              <a:ea typeface="+mn-ea"/>
              <a:cs typeface="+mn-cs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F9FC752-3C66-4395-996D-7156C2426E8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6836" y="426328"/>
            <a:ext cx="9088524" cy="609398"/>
          </a:xfrm>
        </p:spPr>
        <p:txBody>
          <a:bodyPr/>
          <a:lstStyle/>
          <a:p>
            <a:r>
              <a:rPr lang="hu-HU" dirty="0">
                <a:solidFill>
                  <a:schemeClr val="accent4">
                    <a:lumMod val="40000"/>
                    <a:lumOff val="60000"/>
                  </a:schemeClr>
                </a:solidFill>
              </a:rPr>
              <a:t>Servic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83213B-1D98-4D3F-AF3F-A7BC570D9470}"/>
              </a:ext>
            </a:extLst>
          </p:cNvPr>
          <p:cNvSpPr txBox="1"/>
          <p:nvPr/>
        </p:nvSpPr>
        <p:spPr>
          <a:xfrm>
            <a:off x="1649625" y="5845920"/>
            <a:ext cx="308610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hu-HU" sz="2800" b="1" dirty="0">
                <a:solidFill>
                  <a:srgbClr val="FF0000"/>
                </a:solidFill>
              </a:rPr>
              <a:t> Customer Portal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5A8D6FE-422A-44D1-902A-A061DFC7D8A6}"/>
              </a:ext>
            </a:extLst>
          </p:cNvPr>
          <p:cNvSpPr/>
          <p:nvPr/>
        </p:nvSpPr>
        <p:spPr>
          <a:xfrm>
            <a:off x="10492451" y="0"/>
            <a:ext cx="1677971" cy="58446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9C25EF3-4D41-4B48-8374-21D630B9D8FB}"/>
              </a:ext>
            </a:extLst>
          </p:cNvPr>
          <p:cNvSpPr/>
          <p:nvPr/>
        </p:nvSpPr>
        <p:spPr>
          <a:xfrm>
            <a:off x="7038351" y="6048209"/>
            <a:ext cx="2065892" cy="6438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9BCA1C93-C8A8-44F6-9D6C-BBD7BE0554C1}"/>
              </a:ext>
            </a:extLst>
          </p:cNvPr>
          <p:cNvSpPr/>
          <p:nvPr/>
        </p:nvSpPr>
        <p:spPr>
          <a:xfrm>
            <a:off x="1265627" y="5608497"/>
            <a:ext cx="4007413" cy="998066"/>
          </a:xfrm>
          <a:prstGeom prst="ellipse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8" name="Picture 7" descr="Graphical user interface, website&#10;&#10;Description automatically generated">
            <a:extLst>
              <a:ext uri="{FF2B5EF4-FFF2-40B4-BE49-F238E27FC236}">
                <a16:creationId xmlns:a16="http://schemas.microsoft.com/office/drawing/2014/main" id="{0E02A7B1-F589-4C89-B56D-CD72BE10366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73" y="0"/>
            <a:ext cx="1179664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2759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high angle view of a building&#10;&#10;Description automatically generated with medium confidence">
            <a:extLst>
              <a:ext uri="{FF2B5EF4-FFF2-40B4-BE49-F238E27FC236}">
                <a16:creationId xmlns:a16="http://schemas.microsoft.com/office/drawing/2014/main" id="{E965DF54-19D8-48EB-9487-140662E20A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0228" y="4164521"/>
            <a:ext cx="4053840" cy="2700332"/>
          </a:xfrm>
          <a:prstGeom prst="rect">
            <a:avLst/>
          </a:prstGeom>
        </p:spPr>
      </p:pic>
      <p:pic>
        <p:nvPicPr>
          <p:cNvPr id="13" name="Picture 12" descr="A picture containing building, cage&#10;&#10;Description automatically generated">
            <a:extLst>
              <a:ext uri="{FF2B5EF4-FFF2-40B4-BE49-F238E27FC236}">
                <a16:creationId xmlns:a16="http://schemas.microsoft.com/office/drawing/2014/main" id="{8C5C3A30-DDD4-43BC-BD72-20B7C452307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8732" y="1036972"/>
            <a:ext cx="2571565" cy="2734967"/>
          </a:xfrm>
          <a:prstGeom prst="rect">
            <a:avLst/>
          </a:prstGeom>
        </p:spPr>
      </p:pic>
      <p:pic>
        <p:nvPicPr>
          <p:cNvPr id="5" name="Picture 4" descr="A picture containing furniture&#10;&#10;Description automatically generated">
            <a:extLst>
              <a:ext uri="{FF2B5EF4-FFF2-40B4-BE49-F238E27FC236}">
                <a16:creationId xmlns:a16="http://schemas.microsoft.com/office/drawing/2014/main" id="{B742CE22-1138-43BB-A041-1142B93A78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5493" y="4031312"/>
            <a:ext cx="2501966" cy="1949218"/>
          </a:xfrm>
          <a:prstGeom prst="rect">
            <a:avLst/>
          </a:prstGeom>
        </p:spPr>
      </p:pic>
      <p:pic>
        <p:nvPicPr>
          <p:cNvPr id="17" name="Picture 16" descr="A picture containing sky, outdoor, grass, nature&#10;&#10;Description automatically generated">
            <a:extLst>
              <a:ext uri="{FF2B5EF4-FFF2-40B4-BE49-F238E27FC236}">
                <a16:creationId xmlns:a16="http://schemas.microsoft.com/office/drawing/2014/main" id="{234846B4-0BA3-48B4-B693-1BC299D283B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50063" y="3212427"/>
            <a:ext cx="3011006" cy="2045367"/>
          </a:xfrm>
          <a:prstGeom prst="rect">
            <a:avLst/>
          </a:prstGeom>
        </p:spPr>
      </p:pic>
      <p:pic>
        <p:nvPicPr>
          <p:cNvPr id="19" name="Picture 18" descr="A picture containing indoor&#10;&#10;Description automatically generated">
            <a:extLst>
              <a:ext uri="{FF2B5EF4-FFF2-40B4-BE49-F238E27FC236}">
                <a16:creationId xmlns:a16="http://schemas.microsoft.com/office/drawing/2014/main" id="{D4AEB264-B146-410E-8A99-946203B3589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22038" y="1027634"/>
            <a:ext cx="3084323" cy="2313242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21C588A-74C9-4C11-8C10-9D0409C341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481" y="554475"/>
            <a:ext cx="8629650" cy="463550"/>
          </a:xfrm>
        </p:spPr>
        <p:txBody>
          <a:bodyPr/>
          <a:lstStyle/>
          <a:p>
            <a:r>
              <a:rPr lang="en-US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mix </a:t>
            </a:r>
            <a:r>
              <a:rPr lang="en-US" dirty="0" err="1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üzem</a:t>
            </a:r>
            <a:r>
              <a:rPr lang="en-US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ejlesztés</a:t>
            </a:r>
            <a:r>
              <a:rPr lang="en-US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– </a:t>
            </a:r>
            <a:r>
              <a:rPr lang="en-US" dirty="0" err="1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nubia</a:t>
            </a:r>
            <a:r>
              <a:rPr lang="en-US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dirty="0" err="1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jekt</a:t>
            </a:r>
            <a:endParaRPr lang="en-US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D07CBC-779F-4A36-A68F-28636226092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0206"/>
            <a:ext cx="10972800" cy="3970318"/>
          </a:xfrm>
        </p:spPr>
        <p:txBody>
          <a:bodyPr/>
          <a:lstStyle/>
          <a:p>
            <a:r>
              <a:rPr lang="en-US" sz="2400" dirty="0" err="1"/>
              <a:t>Kézi</a:t>
            </a:r>
            <a:r>
              <a:rPr lang="en-US" sz="2400" dirty="0"/>
              <a:t> </a:t>
            </a:r>
            <a:r>
              <a:rPr lang="en-US" sz="2400" dirty="0" err="1"/>
              <a:t>kimérők</a:t>
            </a:r>
            <a:r>
              <a:rPr lang="en-US" sz="2400" dirty="0"/>
              <a:t> </a:t>
            </a:r>
            <a:r>
              <a:rPr lang="en-US" sz="2400" dirty="0" err="1"/>
              <a:t>áthelyezése</a:t>
            </a:r>
            <a:endParaRPr lang="en-US" sz="2400" dirty="0"/>
          </a:p>
          <a:p>
            <a:r>
              <a:rPr lang="en-US" sz="2400" dirty="0" err="1"/>
              <a:t>Új</a:t>
            </a:r>
            <a:r>
              <a:rPr lang="en-US" sz="2400" dirty="0"/>
              <a:t> </a:t>
            </a:r>
            <a:r>
              <a:rPr lang="en-US" sz="2400" dirty="0" err="1"/>
              <a:t>silócsoport</a:t>
            </a:r>
            <a:r>
              <a:rPr lang="en-US" sz="2400" dirty="0"/>
              <a:t> </a:t>
            </a:r>
            <a:r>
              <a:rPr lang="en-US" sz="2400" dirty="0" err="1"/>
              <a:t>beépítese</a:t>
            </a:r>
            <a:endParaRPr lang="en-US" sz="2400" dirty="0"/>
          </a:p>
          <a:p>
            <a:r>
              <a:rPr lang="en-US" sz="2400" dirty="0" err="1"/>
              <a:t>Csomagoló</a:t>
            </a:r>
            <a:r>
              <a:rPr lang="en-US" sz="2400" dirty="0"/>
              <a:t> </a:t>
            </a:r>
            <a:r>
              <a:rPr lang="en-US" sz="2400" dirty="0" err="1"/>
              <a:t>vonal</a:t>
            </a:r>
            <a:r>
              <a:rPr lang="en-US" sz="2400" dirty="0"/>
              <a:t> </a:t>
            </a:r>
            <a:r>
              <a:rPr lang="en-US" sz="2400" dirty="0" err="1"/>
              <a:t>felújitása</a:t>
            </a:r>
            <a:endParaRPr lang="en-US" sz="2400" dirty="0"/>
          </a:p>
          <a:p>
            <a:r>
              <a:rPr lang="en-US" sz="2400" dirty="0" err="1"/>
              <a:t>Új</a:t>
            </a:r>
            <a:r>
              <a:rPr lang="en-US" sz="2400" dirty="0"/>
              <a:t> </a:t>
            </a:r>
            <a:r>
              <a:rPr lang="en-US" sz="2400" dirty="0" err="1"/>
              <a:t>pneumatikus</a:t>
            </a:r>
            <a:r>
              <a:rPr lang="en-US" sz="2400" dirty="0"/>
              <a:t> </a:t>
            </a:r>
            <a:r>
              <a:rPr lang="en-US" sz="2400" dirty="0" err="1"/>
              <a:t>rendszer</a:t>
            </a:r>
            <a:endParaRPr lang="en-US" sz="2400" dirty="0"/>
          </a:p>
          <a:p>
            <a:r>
              <a:rPr lang="en-US" sz="2400" dirty="0" err="1"/>
              <a:t>Rakodó</a:t>
            </a:r>
            <a:r>
              <a:rPr lang="en-US" sz="2400" dirty="0"/>
              <a:t> </a:t>
            </a:r>
            <a:r>
              <a:rPr lang="en-US" sz="2400" dirty="0" err="1"/>
              <a:t>terület</a:t>
            </a:r>
            <a:r>
              <a:rPr lang="en-US" sz="2400" dirty="0"/>
              <a:t> </a:t>
            </a:r>
            <a:r>
              <a:rPr lang="en-US" sz="2400" dirty="0" err="1"/>
              <a:t>lefedése</a:t>
            </a:r>
            <a:r>
              <a:rPr lang="en-US" sz="2400" dirty="0"/>
              <a:t> </a:t>
            </a:r>
          </a:p>
          <a:p>
            <a:r>
              <a:rPr lang="en-US" sz="2400" dirty="0" err="1"/>
              <a:t>Raktár</a:t>
            </a:r>
            <a:r>
              <a:rPr lang="en-US" sz="2400" dirty="0"/>
              <a:t> és </a:t>
            </a:r>
            <a:r>
              <a:rPr lang="en-US" sz="2400" dirty="0" err="1"/>
              <a:t>gyártási</a:t>
            </a:r>
            <a:r>
              <a:rPr lang="en-US" sz="2400" dirty="0"/>
              <a:t> </a:t>
            </a:r>
            <a:r>
              <a:rPr lang="en-US" sz="2400" dirty="0" err="1"/>
              <a:t>szoftver</a:t>
            </a:r>
            <a:endParaRPr lang="en-US" sz="2400" dirty="0"/>
          </a:p>
          <a:p>
            <a:r>
              <a:rPr lang="en-US" sz="2400" dirty="0" err="1"/>
              <a:t>Biztonsági</a:t>
            </a:r>
            <a:r>
              <a:rPr lang="en-US" sz="2400" dirty="0"/>
              <a:t> </a:t>
            </a:r>
            <a:r>
              <a:rPr lang="en-US" sz="2400" dirty="0" err="1"/>
              <a:t>rendszer</a:t>
            </a:r>
            <a:r>
              <a:rPr lang="en-US" sz="2400" dirty="0"/>
              <a:t> </a:t>
            </a:r>
            <a:r>
              <a:rPr lang="en-US" sz="2400" dirty="0" err="1"/>
              <a:t>megújitása</a:t>
            </a:r>
            <a:endParaRPr lang="en-US" sz="2400" dirty="0"/>
          </a:p>
          <a:p>
            <a:r>
              <a:rPr lang="en-US" sz="2400" dirty="0" err="1"/>
              <a:t>Napelem</a:t>
            </a:r>
            <a:r>
              <a:rPr lang="en-US" sz="2400" dirty="0"/>
              <a:t> park</a:t>
            </a:r>
          </a:p>
          <a:p>
            <a:r>
              <a:rPr lang="en-US" sz="2400" dirty="0" err="1"/>
              <a:t>Új</a:t>
            </a:r>
            <a:r>
              <a:rPr lang="en-US" sz="2400" dirty="0"/>
              <a:t> big bag </a:t>
            </a:r>
            <a:r>
              <a:rPr lang="en-US" sz="2400" dirty="0" err="1"/>
              <a:t>állomás</a:t>
            </a:r>
            <a:endParaRPr lang="en-US" sz="2400" dirty="0"/>
          </a:p>
          <a:p>
            <a:r>
              <a:rPr lang="en-US" sz="2400" dirty="0" err="1"/>
              <a:t>Laborfejlesztés</a:t>
            </a:r>
            <a:r>
              <a:rPr lang="en-US" sz="2400" dirty="0"/>
              <a:t>  </a:t>
            </a:r>
          </a:p>
          <a:p>
            <a:endParaRPr lang="en-US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2C63D19-1289-45C3-9E70-DEDF7A9B8B13}"/>
              </a:ext>
            </a:extLst>
          </p:cNvPr>
          <p:cNvSpPr/>
          <p:nvPr/>
        </p:nvSpPr>
        <p:spPr>
          <a:xfrm>
            <a:off x="10825018" y="0"/>
            <a:ext cx="1366982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CBD990E-BB5B-462E-A4AE-A481E2C0926C}"/>
              </a:ext>
            </a:extLst>
          </p:cNvPr>
          <p:cNvSpPr/>
          <p:nvPr/>
        </p:nvSpPr>
        <p:spPr>
          <a:xfrm>
            <a:off x="609600" y="6460435"/>
            <a:ext cx="1366982" cy="3017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17779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2AF03D-74FB-456E-A1D3-B3CFAB9365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46200" y="2506662"/>
            <a:ext cx="9728200" cy="206533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96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20 </a:t>
            </a:r>
            <a:r>
              <a:rPr lang="en-US" sz="9600" b="1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év</a:t>
            </a:r>
            <a:r>
              <a:rPr lang="en-US" sz="96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en-US" sz="9600" b="1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számokban</a:t>
            </a:r>
            <a:r>
              <a:rPr lang="en-US" sz="96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endParaRPr lang="hu-HU" sz="96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7A314CE-D731-4A39-A3D7-8EE02F410CF9}"/>
              </a:ext>
            </a:extLst>
          </p:cNvPr>
          <p:cNvSpPr/>
          <p:nvPr/>
        </p:nvSpPr>
        <p:spPr>
          <a:xfrm>
            <a:off x="10774017" y="0"/>
            <a:ext cx="1411357" cy="39756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378410064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text, mammal&#10;&#10;Description automatically generated">
            <a:extLst>
              <a:ext uri="{FF2B5EF4-FFF2-40B4-BE49-F238E27FC236}">
                <a16:creationId xmlns:a16="http://schemas.microsoft.com/office/drawing/2014/main" id="{C466DF3C-2869-4301-8845-8CED76C3D38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27506"/>
            <a:ext cx="12188853" cy="463962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6E7B2505-D447-4A4C-A187-2885F6D90FF9}"/>
              </a:ext>
            </a:extLst>
          </p:cNvPr>
          <p:cNvSpPr/>
          <p:nvPr/>
        </p:nvSpPr>
        <p:spPr>
          <a:xfrm>
            <a:off x="9058031" y="6025662"/>
            <a:ext cx="3130822" cy="8323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D06A746-ABE0-42C6-B60B-B1C5CBCBBA37}"/>
              </a:ext>
            </a:extLst>
          </p:cNvPr>
          <p:cNvSpPr/>
          <p:nvPr/>
        </p:nvSpPr>
        <p:spPr>
          <a:xfrm>
            <a:off x="10825018" y="0"/>
            <a:ext cx="1366982" cy="3017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049E1C7-35E0-4D25-B450-92AFE715BCB6}"/>
              </a:ext>
            </a:extLst>
          </p:cNvPr>
          <p:cNvSpPr/>
          <p:nvPr/>
        </p:nvSpPr>
        <p:spPr>
          <a:xfrm>
            <a:off x="609600" y="6460435"/>
            <a:ext cx="1366982" cy="3017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232520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4885ABBF-D9C9-49B4-95B8-413F3AF73BB6}"/>
              </a:ext>
            </a:extLst>
          </p:cNvPr>
          <p:cNvSpPr/>
          <p:nvPr/>
        </p:nvSpPr>
        <p:spPr>
          <a:xfrm>
            <a:off x="10825018" y="0"/>
            <a:ext cx="1366982" cy="914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pic>
        <p:nvPicPr>
          <p:cNvPr id="5" name="Picture 4" descr="A group of people posing for a photo in front of a building&#10;&#10;Description automatically generated">
            <a:extLst>
              <a:ext uri="{FF2B5EF4-FFF2-40B4-BE49-F238E27FC236}">
                <a16:creationId xmlns:a16="http://schemas.microsoft.com/office/drawing/2014/main" id="{EEBD170F-34F1-45A6-B8C4-3021F3D86C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732505"/>
            <a:ext cx="12192000" cy="914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5274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969E2A45-7C0F-4001-8A1E-AB9A4C71D7D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52192"/>
            <a:ext cx="12192000" cy="6858000"/>
          </a:xfr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52AF16B1-E79C-6C45-9240-1D619B7E9BA2}"/>
              </a:ext>
            </a:extLst>
          </p:cNvPr>
          <p:cNvSpPr txBox="1">
            <a:spLocks/>
          </p:cNvSpPr>
          <p:nvPr/>
        </p:nvSpPr>
        <p:spPr>
          <a:xfrm>
            <a:off x="2" y="2343015"/>
            <a:ext cx="12192000" cy="502842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0070BA"/>
                </a:solidFill>
                <a:latin typeface="Trebuchet MS" panose="020B070302020209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Medium"/>
                <a:ea typeface="+mj-ea"/>
                <a:cs typeface="+mj-cs"/>
              </a:rPr>
              <a:t>If not us, </a:t>
            </a:r>
            <a:r>
              <a:rPr kumimoji="0" lang="en-GB" sz="3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Medium"/>
                <a:ea typeface="+mj-ea"/>
                <a:cs typeface="+mj-cs"/>
              </a:rPr>
              <a:t>who?    If not now, when?</a:t>
            </a:r>
            <a:endParaRPr kumimoji="0" lang="en-US" sz="32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 Medium"/>
              <a:ea typeface="+mj-ea"/>
              <a:cs typeface="+mj-cs"/>
            </a:endParaRP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1C44965C-CC43-4649-99CB-C368F5DD88E9}"/>
              </a:ext>
            </a:extLst>
          </p:cNvPr>
          <p:cNvSpPr txBox="1">
            <a:spLocks/>
          </p:cNvSpPr>
          <p:nvPr/>
        </p:nvSpPr>
        <p:spPr>
          <a:xfrm>
            <a:off x="1" y="2824011"/>
            <a:ext cx="12192001" cy="182819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0070BA"/>
                </a:solidFill>
                <a:latin typeface="Trebuchet MS" panose="020B0703020202090204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6000" b="1" i="1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Fira Sans Medium"/>
                <a:ea typeface="+mj-ea"/>
                <a:cs typeface="+mj-cs"/>
              </a:rPr>
              <a:t>WE MAKE IT POSSIBLE</a:t>
            </a:r>
            <a:endParaRPr kumimoji="0" lang="en-US" sz="6000" b="1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Fira Sans Medium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6352865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D607411-7E04-4BBD-A0BD-A345EFED6C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0727" y="313340"/>
            <a:ext cx="6548218" cy="220658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52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260.467 t </a:t>
            </a:r>
            <a:r>
              <a:rPr lang="en-US" sz="52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premix</a:t>
            </a:r>
            <a:endParaRPr lang="hu-HU" sz="5200" b="1" dirty="0">
              <a:solidFill>
                <a:schemeClr val="bg1"/>
              </a:solidFill>
              <a:latin typeface="Bradley Hand ITC" panose="03070402050302030203" pitchFamily="66" charset="0"/>
            </a:endParaRPr>
          </a:p>
          <a:p>
            <a:pPr lvl="1"/>
            <a:r>
              <a:rPr lang="hu-HU" sz="32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en-US" sz="32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46.644 t </a:t>
            </a:r>
            <a:r>
              <a:rPr lang="hu-HU" sz="32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bi</a:t>
            </a:r>
            <a:r>
              <a:rPr lang="en-US" sz="3200" b="1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gbag</a:t>
            </a:r>
            <a:r>
              <a:rPr lang="hu-HU" sz="32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-</a:t>
            </a:r>
            <a:r>
              <a:rPr lang="en-US" sz="32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be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1DA7C80-F0A3-49D1-A4DC-4ACEFEC856CB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9975" y="470728"/>
            <a:ext cx="5177527" cy="2662640"/>
          </a:xfrm>
          <a:prstGeom prst="rect">
            <a:avLst/>
          </a:prstGeom>
          <a:effectLst>
            <a:glow rad="63500">
              <a:schemeClr val="accent6">
                <a:satMod val="175000"/>
                <a:alpha val="40000"/>
              </a:schemeClr>
            </a:glow>
            <a:softEdge rad="139700"/>
          </a:effectLst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8" name="Ink 7">
                <a:extLst>
                  <a:ext uri="{FF2B5EF4-FFF2-40B4-BE49-F238E27FC236}">
                    <a16:creationId xmlns:a16="http://schemas.microsoft.com/office/drawing/2014/main" id="{C8F477D2-247C-4449-B7B3-E3B4FA8E02FC}"/>
                  </a:ext>
                </a:extLst>
              </p14:cNvPr>
              <p14:cNvContentPartPr/>
              <p14:nvPr/>
            </p14:nvContentPartPr>
            <p14:xfrm>
              <a:off x="2493504" y="2519928"/>
              <a:ext cx="999360" cy="613440"/>
            </p14:xfrm>
          </p:contentPart>
        </mc:Choice>
        <mc:Fallback xmlns="">
          <p:pic>
            <p:nvPicPr>
              <p:cNvPr id="8" name="Ink 7">
                <a:extLst>
                  <a:ext uri="{FF2B5EF4-FFF2-40B4-BE49-F238E27FC236}">
                    <a16:creationId xmlns:a16="http://schemas.microsoft.com/office/drawing/2014/main" id="{C8F477D2-247C-4449-B7B3-E3B4FA8E02FC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2421864" y="2376288"/>
                <a:ext cx="1143000" cy="901080"/>
              </a:xfrm>
              <a:prstGeom prst="rect">
                <a:avLst/>
              </a:prstGeom>
            </p:spPr>
          </p:pic>
        </mc:Fallback>
      </mc:AlternateContent>
      <p:pic>
        <p:nvPicPr>
          <p:cNvPr id="50178" name="Picture 2">
            <a:extLst>
              <a:ext uri="{FF2B5EF4-FFF2-40B4-BE49-F238E27FC236}">
                <a16:creationId xmlns:a16="http://schemas.microsoft.com/office/drawing/2014/main" id="{A9B914D5-53EC-4E29-8B65-9A0F2D40F37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8952" y="2286603"/>
            <a:ext cx="6718855" cy="4469172"/>
          </a:xfrm>
          <a:prstGeom prst="rect">
            <a:avLst/>
          </a:prstGeom>
          <a:noFill/>
          <a:effectLst>
            <a:glow rad="63500">
              <a:schemeClr val="accent6">
                <a:satMod val="175000"/>
                <a:alpha val="40000"/>
              </a:schemeClr>
            </a:glow>
            <a:softEdge rad="1397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16412166-7608-4AD6-8BC5-28A2B5E291CC}"/>
              </a:ext>
            </a:extLst>
          </p:cNvPr>
          <p:cNvSpPr txBox="1"/>
          <p:nvPr/>
        </p:nvSpPr>
        <p:spPr>
          <a:xfrm>
            <a:off x="7906328" y="4018679"/>
            <a:ext cx="410430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Ez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 </a:t>
            </a: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megfelel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 </a:t>
            </a:r>
            <a:endParaRPr kumimoji="0" lang="hu-HU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radley Hand ITC" panose="03070402050302030203" pitchFamily="66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1343 m </a:t>
            </a: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hosszú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 </a:t>
            </a: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Kinai</a:t>
            </a:r>
            <a:r>
              <a:rPr kumimoji="0" lang="en-US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 </a:t>
            </a:r>
            <a:r>
              <a:rPr lang="hu-HU" sz="3600" b="1" dirty="0">
                <a:solidFill>
                  <a:prstClr val="white"/>
                </a:solidFill>
                <a:latin typeface="Bradley Hand ITC" panose="03070402050302030203" pitchFamily="66" charset="0"/>
              </a:rPr>
              <a:t>n</a:t>
            </a: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agy</a:t>
            </a:r>
            <a:r>
              <a:rPr kumimoji="0" lang="hu-HU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 </a:t>
            </a:r>
            <a:r>
              <a:rPr kumimoji="0" lang="en-US" sz="3600" b="1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falnak</a:t>
            </a:r>
            <a:endParaRPr kumimoji="0" lang="en-US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radley Hand ITC" panose="03070402050302030203" pitchFamily="66" charset="0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F1C3027-2F5E-40E2-B9B2-E4BF1FD267FA}"/>
              </a:ext>
            </a:extLst>
          </p:cNvPr>
          <p:cNvSpPr/>
          <p:nvPr/>
        </p:nvSpPr>
        <p:spPr>
          <a:xfrm>
            <a:off x="10774017" y="0"/>
            <a:ext cx="1411357" cy="39756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41650380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9672679-4E03-4825-B7A1-9075BDAE5B9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77900" y="473541"/>
            <a:ext cx="8615845" cy="496951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40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213.823 t</a:t>
            </a:r>
            <a:r>
              <a:rPr lang="hu-HU" sz="40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hu-HU" sz="4000" dirty="0">
                <a:solidFill>
                  <a:schemeClr val="bg1"/>
                </a:solidFill>
                <a:latin typeface="Bradley Hand ITC" panose="03070402050302030203" pitchFamily="66" charset="0"/>
              </a:rPr>
              <a:t>kis </a:t>
            </a:r>
            <a:r>
              <a:rPr lang="en-US" sz="4000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zsákos</a:t>
            </a:r>
            <a:r>
              <a:rPr lang="hu-HU" sz="4000" dirty="0">
                <a:solidFill>
                  <a:schemeClr val="bg1"/>
                </a:solidFill>
                <a:latin typeface="Bradley Hand ITC" panose="03070402050302030203" pitchFamily="66" charset="0"/>
              </a:rPr>
              <a:t>, ami... </a:t>
            </a:r>
            <a:endParaRPr lang="en-US" sz="40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15AAEC0-EF97-4634-B5A0-6A3DDF3B29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0045" y="1299263"/>
            <a:ext cx="10324874" cy="5397449"/>
          </a:xfrm>
          <a:prstGeom prst="rect">
            <a:avLst/>
          </a:prstGeom>
          <a:effectLst>
            <a:softEdge rad="101600"/>
          </a:effec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3ACBCBF7-487B-48D7-96CF-5ADAB8E780EC}"/>
              </a:ext>
            </a:extLst>
          </p:cNvPr>
          <p:cNvSpPr txBox="1"/>
          <p:nvPr/>
        </p:nvSpPr>
        <p:spPr>
          <a:xfrm rot="21011226">
            <a:off x="1532364" y="4412366"/>
            <a:ext cx="701791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hu-HU" sz="4400" b="1" dirty="0">
                <a:solidFill>
                  <a:prstClr val="black"/>
                </a:solidFill>
                <a:latin typeface="Bradley Hand ITC" panose="03070402050302030203" pitchFamily="66" charset="0"/>
              </a:rPr>
              <a:t>… 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a </a:t>
            </a: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recepciótól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 </a:t>
            </a: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Bostonig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 </a:t>
            </a:r>
            <a:r>
              <a:rPr kumimoji="0" lang="en-US" sz="44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ér</a:t>
            </a:r>
            <a:r>
              <a:rPr kumimoji="0" lang="en-US" sz="4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Bradley Hand ITC" panose="03070402050302030203" pitchFamily="66" charset="0"/>
                <a:ea typeface="+mn-ea"/>
                <a:cs typeface="+mn-cs"/>
              </a:rPr>
              <a:t> 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6265394-E3C1-4BDC-A380-82CB47A86BB3}"/>
              </a:ext>
            </a:extLst>
          </p:cNvPr>
          <p:cNvSpPr/>
          <p:nvPr/>
        </p:nvSpPr>
        <p:spPr>
          <a:xfrm>
            <a:off x="6456219" y="6262255"/>
            <a:ext cx="696480" cy="424946"/>
          </a:xfrm>
          <a:prstGeom prst="ellipse">
            <a:avLst/>
          </a:prstGeom>
          <a:noFill/>
          <a:ln w="349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187B189-FD71-45F1-8DE5-BCBD1416BAD9}"/>
              </a:ext>
            </a:extLst>
          </p:cNvPr>
          <p:cNvSpPr/>
          <p:nvPr/>
        </p:nvSpPr>
        <p:spPr>
          <a:xfrm>
            <a:off x="10774017" y="0"/>
            <a:ext cx="1411357" cy="39756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16147282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6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801" name="Rectangle 73800">
            <a:extLst>
              <a:ext uri="{FF2B5EF4-FFF2-40B4-BE49-F238E27FC236}">
                <a16:creationId xmlns:a16="http://schemas.microsoft.com/office/drawing/2014/main" id="{891401DC-7AF6-42FA-BE31-CF773B6C8B2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-680"/>
            <a:ext cx="12188952" cy="685800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" name="Picture 3" descr="Shape&#10;&#10;Description automatically generated">
            <a:extLst>
              <a:ext uri="{FF2B5EF4-FFF2-40B4-BE49-F238E27FC236}">
                <a16:creationId xmlns:a16="http://schemas.microsoft.com/office/drawing/2014/main" id="{C8AC94A0-07FF-4CCE-A13D-C48B80846C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1330" y="193984"/>
            <a:ext cx="1486462" cy="1863902"/>
          </a:xfrm>
          <a:prstGeom prst="rect">
            <a:avLst/>
          </a:prstGeom>
        </p:spPr>
      </p:pic>
      <p:pic>
        <p:nvPicPr>
          <p:cNvPr id="7" name="Picture 6" descr="Diagram&#10;&#10;Description automatically generated">
            <a:extLst>
              <a:ext uri="{FF2B5EF4-FFF2-40B4-BE49-F238E27FC236}">
                <a16:creationId xmlns:a16="http://schemas.microsoft.com/office/drawing/2014/main" id="{884071AA-47AF-4AEB-88A3-CF32547C821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9905" y="2617728"/>
            <a:ext cx="1187285" cy="1720704"/>
          </a:xfrm>
          <a:prstGeom prst="rect">
            <a:avLst/>
          </a:prstGeom>
        </p:spPr>
      </p:pic>
      <p:pic>
        <p:nvPicPr>
          <p:cNvPr id="73730" name="Picture 2">
            <a:extLst>
              <a:ext uri="{FF2B5EF4-FFF2-40B4-BE49-F238E27FC236}">
                <a16:creationId xmlns:a16="http://schemas.microsoft.com/office/drawing/2014/main" id="{FEF0483A-ADE0-4DDA-BB58-030F5D81D76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07" r="8905" b="-3"/>
          <a:stretch/>
        </p:blipFill>
        <p:spPr bwMode="auto">
          <a:xfrm>
            <a:off x="-198783" y="4681329"/>
            <a:ext cx="2445024" cy="2084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3803" name="Rectangle 73802">
            <a:extLst>
              <a:ext uri="{FF2B5EF4-FFF2-40B4-BE49-F238E27FC236}">
                <a16:creationId xmlns:a16="http://schemas.microsoft.com/office/drawing/2014/main" id="{2B7203F0-D9CB-4774-B9D4-B3AB625DF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4067495" y="2300641"/>
            <a:ext cx="8124506" cy="4557360"/>
          </a:xfrm>
          <a:prstGeom prst="rect">
            <a:avLst/>
          </a:prstGeom>
          <a:solidFill>
            <a:srgbClr val="40404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3805" name="Straight Connector 73804">
            <a:extLst>
              <a:ext uri="{FF2B5EF4-FFF2-40B4-BE49-F238E27FC236}">
                <a16:creationId xmlns:a16="http://schemas.microsoft.com/office/drawing/2014/main" id="{A88CB8AF-5631-45C6-BFEC-971C4D6E58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0" y="2285774"/>
            <a:ext cx="12188952" cy="0"/>
          </a:xfrm>
          <a:prstGeom prst="line">
            <a:avLst/>
          </a:prstGeom>
          <a:ln w="1016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807" name="Straight Connector 73806">
            <a:extLst>
              <a:ext uri="{FF2B5EF4-FFF2-40B4-BE49-F238E27FC236}">
                <a16:creationId xmlns:a16="http://schemas.microsoft.com/office/drawing/2014/main" id="{9F2EA1AF-73AB-4FCB-B4EE-0E42E7250F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 flipH="1">
            <a:off x="0" y="4571548"/>
            <a:ext cx="4064320" cy="0"/>
          </a:xfrm>
          <a:prstGeom prst="line">
            <a:avLst/>
          </a:prstGeom>
          <a:ln w="1016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809" name="Straight Connector 73808">
            <a:extLst>
              <a:ext uri="{FF2B5EF4-FFF2-40B4-BE49-F238E27FC236}">
                <a16:creationId xmlns:a16="http://schemas.microsoft.com/office/drawing/2014/main" id="{65A18FBF-6157-4210-BEF2-9A6C31FA89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4064319" y="-680"/>
            <a:ext cx="0" cy="6858003"/>
          </a:xfrm>
          <a:prstGeom prst="line">
            <a:avLst/>
          </a:prstGeom>
          <a:ln w="1016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811" name="Straight Connector 73810">
            <a:extLst>
              <a:ext uri="{FF2B5EF4-FFF2-40B4-BE49-F238E27FC236}">
                <a16:creationId xmlns:a16="http://schemas.microsoft.com/office/drawing/2014/main" id="{43C9CCA8-3CEC-4CD0-A624-A701C61251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6787597" y="-680"/>
            <a:ext cx="0" cy="2240280"/>
          </a:xfrm>
          <a:prstGeom prst="line">
            <a:avLst/>
          </a:prstGeom>
          <a:ln w="1016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813" name="Straight Connector 73812">
            <a:extLst>
              <a:ext uri="{FF2B5EF4-FFF2-40B4-BE49-F238E27FC236}">
                <a16:creationId xmlns:a16="http://schemas.microsoft.com/office/drawing/2014/main" id="{DDFDA711-2183-447C-AA6C-B1B5643763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9510875" y="-680"/>
            <a:ext cx="0" cy="2240280"/>
          </a:xfrm>
          <a:prstGeom prst="line">
            <a:avLst/>
          </a:prstGeom>
          <a:ln w="101600">
            <a:solidFill>
              <a:srgbClr val="40404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34375EE-4DF6-4C7C-B69C-0169E65FFA9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73079" y="141321"/>
            <a:ext cx="1311119" cy="1956275"/>
          </a:xfrm>
          <a:prstGeom prst="rect">
            <a:avLst/>
          </a:prstGeom>
        </p:spPr>
      </p:pic>
      <p:pic>
        <p:nvPicPr>
          <p:cNvPr id="14" name="Picture 13" descr="Logo&#10;&#10;Description automatically generated">
            <a:extLst>
              <a:ext uri="{FF2B5EF4-FFF2-40B4-BE49-F238E27FC236}">
                <a16:creationId xmlns:a16="http://schemas.microsoft.com/office/drawing/2014/main" id="{28BBAAB6-82C0-4841-9DE0-75E008354B4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0255913" y="418991"/>
            <a:ext cx="1251562" cy="1599652"/>
          </a:xfrm>
          <a:prstGeom prst="rect">
            <a:avLst/>
          </a:prstGeom>
        </p:spPr>
      </p:pic>
      <p:pic>
        <p:nvPicPr>
          <p:cNvPr id="16" name="Picture 15" descr="A red and blue flag&#10;&#10;Description automatically generated with low confidence">
            <a:extLst>
              <a:ext uri="{FF2B5EF4-FFF2-40B4-BE49-F238E27FC236}">
                <a16:creationId xmlns:a16="http://schemas.microsoft.com/office/drawing/2014/main" id="{A26D4223-CA2A-4A93-A8CD-590812B33A4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221" y="302137"/>
            <a:ext cx="1378391" cy="1721275"/>
          </a:xfrm>
          <a:prstGeom prst="rect">
            <a:avLst/>
          </a:prstGeom>
        </p:spPr>
      </p:pic>
      <p:pic>
        <p:nvPicPr>
          <p:cNvPr id="18" name="Picture 17" descr="A picture containing text, queen&#10;&#10;Description automatically generated">
            <a:extLst>
              <a:ext uri="{FF2B5EF4-FFF2-40B4-BE49-F238E27FC236}">
                <a16:creationId xmlns:a16="http://schemas.microsoft.com/office/drawing/2014/main" id="{079FBDA8-BA7E-4416-995B-0E0C133350A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6025" y="343148"/>
            <a:ext cx="1378391" cy="1654069"/>
          </a:xfrm>
          <a:prstGeom prst="rect">
            <a:avLst/>
          </a:prstGeom>
        </p:spPr>
      </p:pic>
      <p:sp>
        <p:nvSpPr>
          <p:cNvPr id="67" name="Content Placeholder 2">
            <a:extLst>
              <a:ext uri="{FF2B5EF4-FFF2-40B4-BE49-F238E27FC236}">
                <a16:creationId xmlns:a16="http://schemas.microsoft.com/office/drawing/2014/main" id="{A088E7DD-E488-43D9-AB19-D1AFD020EA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85180" y="4101152"/>
            <a:ext cx="6868620" cy="207581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000" dirty="0" err="1">
                <a:solidFill>
                  <a:srgbClr val="FFFFFF"/>
                </a:solidFill>
                <a:latin typeface="Bradley Hand ITC" panose="03070402050302030203" pitchFamily="66" charset="0"/>
              </a:rPr>
              <a:t>Premixeinkkel</a:t>
            </a:r>
            <a:r>
              <a:rPr lang="en-US" sz="2000" dirty="0">
                <a:solidFill>
                  <a:srgbClr val="FFFFFF"/>
                </a:solidFill>
                <a:latin typeface="Bradley Hand ITC" panose="03070402050302030203" pitchFamily="66" charset="0"/>
              </a:rPr>
              <a:t> </a:t>
            </a:r>
          </a:p>
          <a:p>
            <a:pPr marL="0" indent="0">
              <a:buNone/>
            </a:pPr>
            <a:r>
              <a:rPr lang="en-US" sz="2000" b="1" dirty="0">
                <a:solidFill>
                  <a:srgbClr val="FFFFFF"/>
                </a:solidFill>
                <a:latin typeface="Bradley Hand ITC" panose="03070402050302030203" pitchFamily="66" charset="0"/>
              </a:rPr>
              <a:t>48,41 </a:t>
            </a:r>
            <a:r>
              <a:rPr lang="en-US" sz="2000" b="1" dirty="0" err="1">
                <a:solidFill>
                  <a:srgbClr val="FFFFFF"/>
                </a:solidFill>
                <a:latin typeface="Bradley Hand ITC" panose="03070402050302030203" pitchFamily="66" charset="0"/>
              </a:rPr>
              <a:t>millió</a:t>
            </a:r>
            <a:r>
              <a:rPr lang="en-US" sz="2000" b="1" dirty="0">
                <a:solidFill>
                  <a:srgbClr val="FFFFFF"/>
                </a:solidFill>
                <a:latin typeface="Bradley Hand ITC" panose="03070402050302030203" pitchFamily="66" charset="0"/>
              </a:rPr>
              <a:t> t </a:t>
            </a:r>
            <a:r>
              <a:rPr lang="en-US" sz="2000" dirty="0" err="1">
                <a:solidFill>
                  <a:srgbClr val="FFFFFF"/>
                </a:solidFill>
                <a:latin typeface="Bradley Hand ITC" panose="03070402050302030203" pitchFamily="66" charset="0"/>
              </a:rPr>
              <a:t>keveréktakarmán</a:t>
            </a:r>
            <a:r>
              <a:rPr lang="hu-HU" sz="2000" dirty="0">
                <a:solidFill>
                  <a:srgbClr val="FFFFFF"/>
                </a:solidFill>
                <a:latin typeface="Bradley Hand ITC" panose="03070402050302030203" pitchFamily="66" charset="0"/>
              </a:rPr>
              <a:t>hoz</a:t>
            </a:r>
            <a:r>
              <a:rPr lang="en-US" sz="2000" dirty="0">
                <a:solidFill>
                  <a:srgbClr val="FFFFFF"/>
                </a:solidFill>
                <a:latin typeface="Bradley Hand ITC" panose="03070402050302030203" pitchFamily="66" charset="0"/>
              </a:rPr>
              <a:t> </a:t>
            </a:r>
            <a:r>
              <a:rPr lang="en-US" sz="2000" dirty="0" err="1">
                <a:solidFill>
                  <a:srgbClr val="FFFFFF"/>
                </a:solidFill>
                <a:latin typeface="Bradley Hand ITC" panose="03070402050302030203" pitchFamily="66" charset="0"/>
              </a:rPr>
              <a:t>adtunk</a:t>
            </a:r>
            <a:r>
              <a:rPr lang="en-US" sz="2000" dirty="0">
                <a:solidFill>
                  <a:srgbClr val="FFFFFF"/>
                </a:solidFill>
                <a:latin typeface="Bradley Hand ITC" panose="03070402050302030203" pitchFamily="66" charset="0"/>
              </a:rPr>
              <a:t> </a:t>
            </a:r>
            <a:r>
              <a:rPr lang="en-US" sz="2000" dirty="0" err="1">
                <a:solidFill>
                  <a:srgbClr val="FFFFFF"/>
                </a:solidFill>
                <a:latin typeface="Bradley Hand ITC" panose="03070402050302030203" pitchFamily="66" charset="0"/>
              </a:rPr>
              <a:t>alapanyagot</a:t>
            </a:r>
            <a:r>
              <a:rPr lang="en-US" sz="2000" dirty="0">
                <a:solidFill>
                  <a:srgbClr val="FFFFFF"/>
                </a:solidFill>
                <a:latin typeface="Bradley Hand ITC" panose="03070402050302030203" pitchFamily="66" charset="0"/>
              </a:rPr>
              <a:t>. </a:t>
            </a:r>
            <a:endParaRPr lang="hu-HU" sz="2000" dirty="0">
              <a:solidFill>
                <a:srgbClr val="FFFFFF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endParaRPr lang="hu-HU" sz="2000" dirty="0">
              <a:solidFill>
                <a:srgbClr val="FFFFFF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r>
              <a:rPr lang="hu-HU" sz="2000" dirty="0">
                <a:solidFill>
                  <a:srgbClr val="FFFFFF"/>
                </a:solidFill>
                <a:latin typeface="Bradley Hand ITC" panose="03070402050302030203" pitchFamily="66" charset="0"/>
              </a:rPr>
              <a:t>Ez közel 2 Velencei tó</a:t>
            </a:r>
            <a:endParaRPr lang="en-US" sz="2000" dirty="0">
              <a:solidFill>
                <a:srgbClr val="FFFFFF"/>
              </a:solidFill>
              <a:latin typeface="Bradley Hand ITC" panose="03070402050302030203" pitchFamily="66" charset="0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24849FE-3433-414D-9182-AB9BBC4823C5}"/>
              </a:ext>
            </a:extLst>
          </p:cNvPr>
          <p:cNvSpPr txBox="1"/>
          <p:nvPr/>
        </p:nvSpPr>
        <p:spPr>
          <a:xfrm>
            <a:off x="2027586" y="2252550"/>
            <a:ext cx="10161366" cy="4604773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endParaRPr lang="hu-HU" dirty="0"/>
          </a:p>
        </p:txBody>
      </p:sp>
      <p:sp>
        <p:nvSpPr>
          <p:cNvPr id="69" name="Content Placeholder 2">
            <a:extLst>
              <a:ext uri="{FF2B5EF4-FFF2-40B4-BE49-F238E27FC236}">
                <a16:creationId xmlns:a16="http://schemas.microsoft.com/office/drawing/2014/main" id="{DD1C586A-6F2E-4520-A66F-A7B2B38F877F}"/>
              </a:ext>
            </a:extLst>
          </p:cNvPr>
          <p:cNvSpPr txBox="1">
            <a:spLocks/>
          </p:cNvSpPr>
          <p:nvPr/>
        </p:nvSpPr>
        <p:spPr>
          <a:xfrm>
            <a:off x="2626637" y="2776283"/>
            <a:ext cx="8852669" cy="3401559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3600" dirty="0" err="1">
                <a:solidFill>
                  <a:srgbClr val="FFFFFF"/>
                </a:solidFill>
                <a:latin typeface="Bradley Hand ITC" panose="03070402050302030203" pitchFamily="66" charset="0"/>
              </a:rPr>
              <a:t>Premixeinkkel</a:t>
            </a:r>
            <a:r>
              <a:rPr lang="en-US" sz="3600" dirty="0">
                <a:solidFill>
                  <a:srgbClr val="FFFFFF"/>
                </a:solidFill>
                <a:latin typeface="Bradley Hand ITC" panose="03070402050302030203" pitchFamily="66" charset="0"/>
              </a:rPr>
              <a:t> </a:t>
            </a:r>
            <a:r>
              <a:rPr lang="en-US" sz="36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48,41 </a:t>
            </a:r>
            <a:r>
              <a:rPr lang="en-US" sz="3600" b="1" dirty="0" err="1">
                <a:solidFill>
                  <a:srgbClr val="FFFF00"/>
                </a:solidFill>
                <a:latin typeface="Bradley Hand ITC" panose="03070402050302030203" pitchFamily="66" charset="0"/>
              </a:rPr>
              <a:t>millió</a:t>
            </a:r>
            <a:r>
              <a:rPr lang="en-US" sz="36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 t</a:t>
            </a:r>
            <a:r>
              <a:rPr lang="en-US" sz="3600" b="1" dirty="0">
                <a:solidFill>
                  <a:srgbClr val="FFFFFF"/>
                </a:solidFill>
                <a:latin typeface="Bradley Hand ITC" panose="03070402050302030203" pitchFamily="66" charset="0"/>
              </a:rPr>
              <a:t> </a:t>
            </a:r>
            <a:r>
              <a:rPr lang="en-US" sz="3600" dirty="0" err="1">
                <a:solidFill>
                  <a:srgbClr val="FFFFFF"/>
                </a:solidFill>
                <a:latin typeface="Bradley Hand ITC" panose="03070402050302030203" pitchFamily="66" charset="0"/>
              </a:rPr>
              <a:t>keveréktakarmán</a:t>
            </a:r>
            <a:r>
              <a:rPr lang="hu-HU" sz="3600" dirty="0">
                <a:solidFill>
                  <a:srgbClr val="FFFFFF"/>
                </a:solidFill>
                <a:latin typeface="Bradley Hand ITC" panose="03070402050302030203" pitchFamily="66" charset="0"/>
              </a:rPr>
              <a:t>hoz</a:t>
            </a:r>
            <a:r>
              <a:rPr lang="en-US" sz="3600" dirty="0">
                <a:solidFill>
                  <a:srgbClr val="FFFFFF"/>
                </a:solidFill>
                <a:latin typeface="Bradley Hand ITC" panose="03070402050302030203" pitchFamily="66" charset="0"/>
              </a:rPr>
              <a:t> </a:t>
            </a:r>
            <a:r>
              <a:rPr lang="en-US" sz="3600" dirty="0" err="1">
                <a:solidFill>
                  <a:srgbClr val="FFFFFF"/>
                </a:solidFill>
                <a:latin typeface="Bradley Hand ITC" panose="03070402050302030203" pitchFamily="66" charset="0"/>
              </a:rPr>
              <a:t>adtunk</a:t>
            </a:r>
            <a:r>
              <a:rPr lang="en-US" sz="3600" dirty="0">
                <a:solidFill>
                  <a:srgbClr val="FFFFFF"/>
                </a:solidFill>
                <a:latin typeface="Bradley Hand ITC" panose="03070402050302030203" pitchFamily="66" charset="0"/>
              </a:rPr>
              <a:t> </a:t>
            </a:r>
            <a:r>
              <a:rPr lang="en-US" sz="3600" dirty="0" err="1">
                <a:solidFill>
                  <a:srgbClr val="FFFFFF"/>
                </a:solidFill>
                <a:latin typeface="Bradley Hand ITC" panose="03070402050302030203" pitchFamily="66" charset="0"/>
              </a:rPr>
              <a:t>alapanyagot</a:t>
            </a:r>
            <a:r>
              <a:rPr lang="en-US" sz="3600" dirty="0">
                <a:solidFill>
                  <a:srgbClr val="FFFFFF"/>
                </a:solidFill>
                <a:latin typeface="Bradley Hand ITC" panose="03070402050302030203" pitchFamily="66" charset="0"/>
              </a:rPr>
              <a:t>. </a:t>
            </a:r>
            <a:endParaRPr lang="hu-HU" sz="3600" dirty="0">
              <a:solidFill>
                <a:srgbClr val="FFFFFF"/>
              </a:solidFill>
              <a:latin typeface="Bradley Hand ITC" panose="03070402050302030203" pitchFamily="66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hu-HU" sz="3600" dirty="0">
              <a:solidFill>
                <a:srgbClr val="FFFFFF"/>
              </a:solidFill>
              <a:latin typeface="Bradley Hand ITC" panose="03070402050302030203" pitchFamily="66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hu-HU" sz="3600" dirty="0">
              <a:solidFill>
                <a:srgbClr val="FFFFFF"/>
              </a:solidFill>
              <a:latin typeface="Bradley Hand ITC" panose="03070402050302030203" pitchFamily="66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r>
              <a:rPr lang="hu-HU" sz="3600" dirty="0">
                <a:solidFill>
                  <a:srgbClr val="FFFFFF"/>
                </a:solidFill>
                <a:latin typeface="Bradley Hand ITC" panose="03070402050302030203" pitchFamily="66" charset="0"/>
              </a:rPr>
              <a:t>Ez közel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hu-HU" sz="3600" dirty="0">
                <a:solidFill>
                  <a:srgbClr val="FFFFFF"/>
                </a:solidFill>
                <a:latin typeface="Bradley Hand ITC" panose="03070402050302030203" pitchFamily="66" charset="0"/>
              </a:rPr>
              <a:t>2 Velencei tó</a:t>
            </a:r>
            <a:endParaRPr lang="en-US" sz="3600" dirty="0">
              <a:solidFill>
                <a:srgbClr val="FFFFFF"/>
              </a:solidFill>
              <a:latin typeface="Bradley Hand ITC" panose="03070402050302030203" pitchFamily="66" charset="0"/>
            </a:endParaRPr>
          </a:p>
        </p:txBody>
      </p:sp>
      <p:pic>
        <p:nvPicPr>
          <p:cNvPr id="70" name="Picture 69">
            <a:extLst>
              <a:ext uri="{FF2B5EF4-FFF2-40B4-BE49-F238E27FC236}">
                <a16:creationId xmlns:a16="http://schemas.microsoft.com/office/drawing/2014/main" id="{40C8DFD5-B9DD-48B1-9EC9-B88AA5348C4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5707" y="4624122"/>
            <a:ext cx="3359785" cy="1899285"/>
          </a:xfrm>
          <a:prstGeom prst="rect">
            <a:avLst/>
          </a:prstGeom>
          <a:noFill/>
          <a:effectLst>
            <a:softEdge rad="190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" name="Picture 70">
            <a:extLst>
              <a:ext uri="{FF2B5EF4-FFF2-40B4-BE49-F238E27FC236}">
                <a16:creationId xmlns:a16="http://schemas.microsoft.com/office/drawing/2014/main" id="{40C8DFD5-B9DD-48B1-9EC9-B88AA5348C49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44370" y="3876214"/>
            <a:ext cx="3359785" cy="1899285"/>
          </a:xfrm>
          <a:prstGeom prst="rect">
            <a:avLst/>
          </a:prstGeom>
          <a:noFill/>
          <a:effectLst>
            <a:softEdge rad="190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1859210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72718" name="Rectangle 72717">
            <a:extLst>
              <a:ext uri="{FF2B5EF4-FFF2-40B4-BE49-F238E27FC236}">
                <a16:creationId xmlns:a16="http://schemas.microsoft.com/office/drawing/2014/main" id="{F13C74B1-5B17-4795-BED0-7140497B44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2720" name="sketchy line">
            <a:extLst>
              <a:ext uri="{FF2B5EF4-FFF2-40B4-BE49-F238E27FC236}">
                <a16:creationId xmlns:a16="http://schemas.microsoft.com/office/drawing/2014/main" id="{D4974D33-8DC5-464E-8C6D-BE58F0669C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640080" y="2586994"/>
            <a:ext cx="3474720" cy="18288"/>
          </a:xfrm>
          <a:custGeom>
            <a:avLst/>
            <a:gdLst>
              <a:gd name="connsiteX0" fmla="*/ 0 w 3474720"/>
              <a:gd name="connsiteY0" fmla="*/ 0 h 18288"/>
              <a:gd name="connsiteX1" fmla="*/ 694944 w 3474720"/>
              <a:gd name="connsiteY1" fmla="*/ 0 h 18288"/>
              <a:gd name="connsiteX2" fmla="*/ 1355141 w 3474720"/>
              <a:gd name="connsiteY2" fmla="*/ 0 h 18288"/>
              <a:gd name="connsiteX3" fmla="*/ 2015338 w 3474720"/>
              <a:gd name="connsiteY3" fmla="*/ 0 h 18288"/>
              <a:gd name="connsiteX4" fmla="*/ 2779776 w 3474720"/>
              <a:gd name="connsiteY4" fmla="*/ 0 h 18288"/>
              <a:gd name="connsiteX5" fmla="*/ 3474720 w 3474720"/>
              <a:gd name="connsiteY5" fmla="*/ 0 h 18288"/>
              <a:gd name="connsiteX6" fmla="*/ 3474720 w 3474720"/>
              <a:gd name="connsiteY6" fmla="*/ 18288 h 18288"/>
              <a:gd name="connsiteX7" fmla="*/ 2779776 w 3474720"/>
              <a:gd name="connsiteY7" fmla="*/ 18288 h 18288"/>
              <a:gd name="connsiteX8" fmla="*/ 2189074 w 3474720"/>
              <a:gd name="connsiteY8" fmla="*/ 18288 h 18288"/>
              <a:gd name="connsiteX9" fmla="*/ 1528877 w 3474720"/>
              <a:gd name="connsiteY9" fmla="*/ 18288 h 18288"/>
              <a:gd name="connsiteX10" fmla="*/ 868680 w 3474720"/>
              <a:gd name="connsiteY10" fmla="*/ 18288 h 18288"/>
              <a:gd name="connsiteX11" fmla="*/ 0 w 3474720"/>
              <a:gd name="connsiteY11" fmla="*/ 18288 h 18288"/>
              <a:gd name="connsiteX12" fmla="*/ 0 w 3474720"/>
              <a:gd name="connsiteY12" fmla="*/ 0 h 182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474720" h="18288" fill="none" extrusionOk="0">
                <a:moveTo>
                  <a:pt x="0" y="0"/>
                </a:moveTo>
                <a:cubicBezTo>
                  <a:pt x="224454" y="-14544"/>
                  <a:pt x="495407" y="26540"/>
                  <a:pt x="694944" y="0"/>
                </a:cubicBezTo>
                <a:cubicBezTo>
                  <a:pt x="894481" y="-26540"/>
                  <a:pt x="1130063" y="24713"/>
                  <a:pt x="1355141" y="0"/>
                </a:cubicBezTo>
                <a:cubicBezTo>
                  <a:pt x="1580219" y="-24713"/>
                  <a:pt x="1820099" y="26695"/>
                  <a:pt x="2015338" y="0"/>
                </a:cubicBezTo>
                <a:cubicBezTo>
                  <a:pt x="2210577" y="-26695"/>
                  <a:pt x="2402045" y="165"/>
                  <a:pt x="2779776" y="0"/>
                </a:cubicBezTo>
                <a:cubicBezTo>
                  <a:pt x="3157507" y="-165"/>
                  <a:pt x="3286859" y="-15571"/>
                  <a:pt x="3474720" y="0"/>
                </a:cubicBezTo>
                <a:cubicBezTo>
                  <a:pt x="3474286" y="7551"/>
                  <a:pt x="3474253" y="9822"/>
                  <a:pt x="3474720" y="18288"/>
                </a:cubicBezTo>
                <a:cubicBezTo>
                  <a:pt x="3233904" y="29845"/>
                  <a:pt x="2945134" y="-5256"/>
                  <a:pt x="2779776" y="18288"/>
                </a:cubicBezTo>
                <a:cubicBezTo>
                  <a:pt x="2614418" y="41832"/>
                  <a:pt x="2339768" y="22709"/>
                  <a:pt x="2189074" y="18288"/>
                </a:cubicBezTo>
                <a:cubicBezTo>
                  <a:pt x="2038380" y="13867"/>
                  <a:pt x="1817434" y="-4947"/>
                  <a:pt x="1528877" y="18288"/>
                </a:cubicBezTo>
                <a:cubicBezTo>
                  <a:pt x="1240320" y="41523"/>
                  <a:pt x="1042447" y="37198"/>
                  <a:pt x="868680" y="18288"/>
                </a:cubicBezTo>
                <a:cubicBezTo>
                  <a:pt x="694913" y="-622"/>
                  <a:pt x="233232" y="44909"/>
                  <a:pt x="0" y="18288"/>
                </a:cubicBezTo>
                <a:cubicBezTo>
                  <a:pt x="60" y="11696"/>
                  <a:pt x="66" y="3758"/>
                  <a:pt x="0" y="0"/>
                </a:cubicBezTo>
                <a:close/>
              </a:path>
              <a:path w="3474720" h="18288" stroke="0" extrusionOk="0">
                <a:moveTo>
                  <a:pt x="0" y="0"/>
                </a:moveTo>
                <a:cubicBezTo>
                  <a:pt x="202328" y="-14716"/>
                  <a:pt x="332722" y="-11499"/>
                  <a:pt x="625450" y="0"/>
                </a:cubicBezTo>
                <a:cubicBezTo>
                  <a:pt x="918178" y="11499"/>
                  <a:pt x="1096688" y="5123"/>
                  <a:pt x="1389888" y="0"/>
                </a:cubicBezTo>
                <a:cubicBezTo>
                  <a:pt x="1683088" y="-5123"/>
                  <a:pt x="1835981" y="-14038"/>
                  <a:pt x="1980590" y="0"/>
                </a:cubicBezTo>
                <a:cubicBezTo>
                  <a:pt x="2125199" y="14038"/>
                  <a:pt x="2396099" y="-7203"/>
                  <a:pt x="2571293" y="0"/>
                </a:cubicBezTo>
                <a:cubicBezTo>
                  <a:pt x="2746487" y="7203"/>
                  <a:pt x="3041609" y="-12036"/>
                  <a:pt x="3474720" y="0"/>
                </a:cubicBezTo>
                <a:cubicBezTo>
                  <a:pt x="3474638" y="4406"/>
                  <a:pt x="3474631" y="9982"/>
                  <a:pt x="3474720" y="18288"/>
                </a:cubicBezTo>
                <a:cubicBezTo>
                  <a:pt x="3324873" y="21876"/>
                  <a:pt x="3136771" y="12587"/>
                  <a:pt x="2814523" y="18288"/>
                </a:cubicBezTo>
                <a:cubicBezTo>
                  <a:pt x="2492275" y="23989"/>
                  <a:pt x="2294402" y="47111"/>
                  <a:pt x="2154326" y="18288"/>
                </a:cubicBezTo>
                <a:cubicBezTo>
                  <a:pt x="2014250" y="-10535"/>
                  <a:pt x="1820317" y="33903"/>
                  <a:pt x="1494130" y="18288"/>
                </a:cubicBezTo>
                <a:cubicBezTo>
                  <a:pt x="1167943" y="2673"/>
                  <a:pt x="948432" y="14868"/>
                  <a:pt x="729691" y="18288"/>
                </a:cubicBezTo>
                <a:cubicBezTo>
                  <a:pt x="510950" y="21708"/>
                  <a:pt x="264032" y="24354"/>
                  <a:pt x="0" y="18288"/>
                </a:cubicBezTo>
                <a:cubicBezTo>
                  <a:pt x="189" y="14288"/>
                  <a:pt x="-703" y="3747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44450" cap="rnd">
            <a:solidFill>
              <a:schemeClr val="accent2"/>
            </a:solidFill>
            <a:round/>
            <a:extLst>
              <a:ext uri="{C807C97D-BFC1-408E-A445-0C87EB9F89A2}">
                <ask:lineSketchStyleProps xmlns:ask="http://schemas.microsoft.com/office/drawing/2018/sketchyshapes" sd="2863741219">
                  <a:prstGeom prst="rect">
                    <a:avLst/>
                  </a:prstGeom>
                  <ask:type>
                    <ask:lineSketchFreehand/>
                  </ask:type>
                </ask:lineSketchStyleProps>
              </a:ext>
            </a:extLst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D445B2-37E2-46EF-9A50-681C3AC0A2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662" y="318644"/>
            <a:ext cx="5112991" cy="213433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3600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Premixben</a:t>
            </a:r>
            <a:r>
              <a:rPr lang="en-US" sz="3600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és</a:t>
            </a:r>
            <a:r>
              <a:rPr lang="en-US" sz="3600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alapanyagként</a:t>
            </a:r>
            <a:r>
              <a:rPr lang="en-US" sz="3600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en-US" sz="36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64.532 t </a:t>
            </a:r>
            <a:r>
              <a:rPr lang="en-US" sz="3600" b="1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aminósavat</a:t>
            </a:r>
            <a:r>
              <a:rPr lang="en-US" sz="36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en-US" sz="3600" b="1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és</a:t>
            </a:r>
            <a:r>
              <a:rPr lang="en-US" sz="36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en-US" sz="36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9.356 t </a:t>
            </a:r>
            <a:r>
              <a:rPr lang="en-US" sz="3600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vitamint</a:t>
            </a:r>
            <a:r>
              <a:rPr lang="en-US" sz="3600" b="1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értékesítettünk</a:t>
            </a:r>
            <a:r>
              <a:rPr lang="en-US" sz="3600" dirty="0">
                <a:solidFill>
                  <a:schemeClr val="bg1"/>
                </a:solidFill>
                <a:latin typeface="Bradley Hand ITC" panose="03070402050302030203" pitchFamily="66" charset="0"/>
              </a:rPr>
              <a:t>. </a:t>
            </a:r>
            <a:endParaRPr lang="hu-HU" sz="3600" dirty="0">
              <a:solidFill>
                <a:schemeClr val="bg1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endParaRPr lang="hu-HU" sz="3600" dirty="0">
              <a:solidFill>
                <a:schemeClr val="bg1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endParaRPr lang="hu-HU" sz="3600" dirty="0">
              <a:solidFill>
                <a:schemeClr val="bg1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endParaRPr lang="hu-HU" sz="3600" dirty="0">
              <a:solidFill>
                <a:schemeClr val="bg1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r>
              <a:rPr lang="en-US" sz="3600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Ez</a:t>
            </a:r>
            <a:r>
              <a:rPr lang="hu-HU" sz="3600" dirty="0">
                <a:solidFill>
                  <a:schemeClr val="bg1"/>
                </a:solidFill>
                <a:latin typeface="Bradley Hand ITC" panose="03070402050302030203" pitchFamily="66" charset="0"/>
              </a:rPr>
              <a:t> egy</a:t>
            </a:r>
            <a:r>
              <a:rPr lang="en-US" sz="3600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en-US" sz="36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33</a:t>
            </a:r>
            <a:r>
              <a:rPr lang="hu-HU" sz="36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,</a:t>
            </a:r>
            <a:r>
              <a:rPr lang="en-US" sz="36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8</a:t>
            </a:r>
            <a:r>
              <a:rPr lang="hu-HU" sz="36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 km hosszú </a:t>
            </a:r>
            <a:r>
              <a:rPr lang="hu-HU" sz="3600" dirty="0">
                <a:solidFill>
                  <a:schemeClr val="bg1"/>
                </a:solidFill>
                <a:latin typeface="Bradley Hand ITC" panose="03070402050302030203" pitchFamily="66" charset="0"/>
              </a:rPr>
              <a:t>vasúti</a:t>
            </a:r>
            <a:r>
              <a:rPr lang="en-US" sz="3600" dirty="0">
                <a:solidFill>
                  <a:schemeClr val="bg1"/>
                </a:solidFill>
                <a:latin typeface="Bradley Hand ITC" panose="03070402050302030203" pitchFamily="66" charset="0"/>
              </a:rPr>
              <a:t> </a:t>
            </a:r>
            <a:r>
              <a:rPr lang="en-US" sz="3600" dirty="0" err="1">
                <a:solidFill>
                  <a:schemeClr val="bg1"/>
                </a:solidFill>
                <a:latin typeface="Bradley Hand ITC" panose="03070402050302030203" pitchFamily="66" charset="0"/>
              </a:rPr>
              <a:t>szerelvény</a:t>
            </a:r>
            <a:r>
              <a:rPr lang="en-US" sz="3600" dirty="0">
                <a:solidFill>
                  <a:schemeClr val="bg1"/>
                </a:solidFill>
                <a:latin typeface="Bradley Hand ITC" panose="03070402050302030203" pitchFamily="66" charset="0"/>
              </a:rPr>
              <a:t>.</a:t>
            </a:r>
          </a:p>
          <a:p>
            <a:pPr marL="0" indent="0">
              <a:buNone/>
            </a:pPr>
            <a:endParaRPr lang="en-US" sz="3600" dirty="0">
              <a:solidFill>
                <a:schemeClr val="bg1"/>
              </a:solidFill>
              <a:latin typeface="Bradley Hand ITC" panose="03070402050302030203" pitchFamily="66" charset="0"/>
            </a:endParaRPr>
          </a:p>
          <a:p>
            <a:pPr marL="0" indent="0">
              <a:buNone/>
            </a:pPr>
            <a:endParaRPr lang="en-US" sz="3600" dirty="0">
              <a:solidFill>
                <a:schemeClr val="bg1"/>
              </a:solidFill>
              <a:latin typeface="Bradley Hand ITC" panose="03070402050302030203" pitchFamily="66" charset="0"/>
            </a:endParaRPr>
          </a:p>
        </p:txBody>
      </p:sp>
      <p:pic>
        <p:nvPicPr>
          <p:cNvPr id="72706" name="Picture 2">
            <a:extLst>
              <a:ext uri="{FF2B5EF4-FFF2-40B4-BE49-F238E27FC236}">
                <a16:creationId xmlns:a16="http://schemas.microsoft.com/office/drawing/2014/main" id="{0EF2962C-EBBE-4645-A2E5-1C7E2C3B80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47" r="15000" b="-1"/>
          <a:stretch/>
        </p:blipFill>
        <p:spPr bwMode="auto">
          <a:xfrm>
            <a:off x="5311702" y="10"/>
            <a:ext cx="6878775" cy="6857990"/>
          </a:xfrm>
          <a:custGeom>
            <a:avLst/>
            <a:gdLst/>
            <a:ahLst/>
            <a:cxnLst/>
            <a:rect l="l" t="t" r="r" b="b"/>
            <a:pathLst>
              <a:path w="6878775" h="6858000">
                <a:moveTo>
                  <a:pt x="1102973" y="0"/>
                </a:moveTo>
                <a:lnTo>
                  <a:pt x="1160688" y="0"/>
                </a:lnTo>
                <a:lnTo>
                  <a:pt x="983189" y="331786"/>
                </a:lnTo>
                <a:cubicBezTo>
                  <a:pt x="914866" y="469145"/>
                  <a:pt x="850355" y="608712"/>
                  <a:pt x="789261" y="750263"/>
                </a:cubicBezTo>
                <a:cubicBezTo>
                  <a:pt x="774307" y="784928"/>
                  <a:pt x="759992" y="819849"/>
                  <a:pt x="745295" y="854514"/>
                </a:cubicBezTo>
                <a:cubicBezTo>
                  <a:pt x="756682" y="845393"/>
                  <a:pt x="765489" y="833492"/>
                  <a:pt x="770857" y="819975"/>
                </a:cubicBezTo>
                <a:cubicBezTo>
                  <a:pt x="879943" y="589569"/>
                  <a:pt x="999605" y="365513"/>
                  <a:pt x="1131329" y="148742"/>
                </a:cubicBezTo>
                <a:lnTo>
                  <a:pt x="1227589" y="0"/>
                </a:lnTo>
                <a:lnTo>
                  <a:pt x="6878775" y="0"/>
                </a:lnTo>
                <a:lnTo>
                  <a:pt x="6878775" y="6858000"/>
                </a:lnTo>
                <a:lnTo>
                  <a:pt x="713521" y="6858000"/>
                </a:lnTo>
                <a:lnTo>
                  <a:pt x="625642" y="6670527"/>
                </a:lnTo>
                <a:cubicBezTo>
                  <a:pt x="507232" y="6398531"/>
                  <a:pt x="403083" y="6118381"/>
                  <a:pt x="312785" y="5830359"/>
                </a:cubicBezTo>
                <a:cubicBezTo>
                  <a:pt x="278149" y="5719759"/>
                  <a:pt x="248879" y="5607635"/>
                  <a:pt x="212198" y="5480401"/>
                </a:cubicBezTo>
                <a:cubicBezTo>
                  <a:pt x="212208" y="5491601"/>
                  <a:pt x="212803" y="5502788"/>
                  <a:pt x="213988" y="5513923"/>
                </a:cubicBezTo>
                <a:cubicBezTo>
                  <a:pt x="264089" y="5723695"/>
                  <a:pt x="307290" y="5935370"/>
                  <a:pt x="365826" y="6142729"/>
                </a:cubicBezTo>
                <a:cubicBezTo>
                  <a:pt x="433152" y="6380817"/>
                  <a:pt x="510068" y="6614016"/>
                  <a:pt x="597975" y="6841549"/>
                </a:cubicBezTo>
                <a:lnTo>
                  <a:pt x="604824" y="6858000"/>
                </a:lnTo>
                <a:lnTo>
                  <a:pt x="552056" y="6858000"/>
                </a:lnTo>
                <a:lnTo>
                  <a:pt x="539576" y="6828295"/>
                </a:lnTo>
                <a:cubicBezTo>
                  <a:pt x="380597" y="6414594"/>
                  <a:pt x="260223" y="5988893"/>
                  <a:pt x="171555" y="5552906"/>
                </a:cubicBezTo>
                <a:cubicBezTo>
                  <a:pt x="91163" y="5157998"/>
                  <a:pt x="43746" y="4758899"/>
                  <a:pt x="12305" y="4357388"/>
                </a:cubicBezTo>
                <a:cubicBezTo>
                  <a:pt x="-14281" y="4013908"/>
                  <a:pt x="4507" y="3672965"/>
                  <a:pt x="46684" y="3331516"/>
                </a:cubicBezTo>
                <a:cubicBezTo>
                  <a:pt x="127203" y="2664286"/>
                  <a:pt x="277819" y="2007265"/>
                  <a:pt x="496065" y="1371196"/>
                </a:cubicBezTo>
                <a:cubicBezTo>
                  <a:pt x="636273" y="966066"/>
                  <a:pt x="800445" y="573253"/>
                  <a:pt x="995723" y="196614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159541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6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D445B2-37E2-46EF-9A50-681C3AC0A2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69891" y="3056020"/>
            <a:ext cx="6022109" cy="3668053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sz="3600" dirty="0">
                <a:latin typeface="Bradley Hand ITC" panose="03070402050302030203" pitchFamily="66" charset="0"/>
              </a:rPr>
              <a:t>A </a:t>
            </a:r>
            <a:r>
              <a:rPr lang="hu-HU" sz="3600" dirty="0">
                <a:latin typeface="Bradley Hand ITC" panose="03070402050302030203" pitchFamily="66" charset="0"/>
              </a:rPr>
              <a:t>        A </a:t>
            </a:r>
            <a:r>
              <a:rPr lang="en-US" sz="3600" dirty="0" err="1">
                <a:latin typeface="Bradley Hand ITC" panose="03070402050302030203" pitchFamily="66" charset="0"/>
              </a:rPr>
              <a:t>Ronozyme</a:t>
            </a:r>
            <a:r>
              <a:rPr lang="en-US" sz="3600" dirty="0">
                <a:latin typeface="Bradley Hand ITC" panose="03070402050302030203" pitchFamily="66" charset="0"/>
              </a:rPr>
              <a:t> </a:t>
            </a:r>
            <a:r>
              <a:rPr lang="en-US" sz="3600" dirty="0" err="1">
                <a:latin typeface="Bradley Hand ITC" panose="03070402050302030203" pitchFamily="66" charset="0"/>
              </a:rPr>
              <a:t>ProAct</a:t>
            </a:r>
            <a:r>
              <a:rPr lang="en-US" sz="3600" dirty="0">
                <a:latin typeface="Bradley Hand ITC" panose="03070402050302030203" pitchFamily="66" charset="0"/>
              </a:rPr>
              <a:t> </a:t>
            </a:r>
            <a:r>
              <a:rPr lang="hu-HU" sz="3600" dirty="0">
                <a:latin typeface="Bradley Hand ITC" panose="03070402050302030203" pitchFamily="66" charset="0"/>
              </a:rPr>
              <a:t>                      </a:t>
            </a:r>
          </a:p>
          <a:p>
            <a:pPr marL="0" indent="0">
              <a:buNone/>
            </a:pPr>
            <a:r>
              <a:rPr lang="hu-HU" sz="3600" dirty="0">
                <a:latin typeface="Bradley Hand ITC" panose="03070402050302030203" pitchFamily="66" charset="0"/>
              </a:rPr>
              <a:t>            </a:t>
            </a:r>
            <a:r>
              <a:rPr lang="en-US" sz="3600" dirty="0" err="1">
                <a:latin typeface="Bradley Hand ITC" panose="03070402050302030203" pitchFamily="66" charset="0"/>
              </a:rPr>
              <a:t>használatával</a:t>
            </a:r>
            <a:r>
              <a:rPr lang="en-US" sz="3600" dirty="0">
                <a:latin typeface="Bradley Hand ITC" panose="03070402050302030203" pitchFamily="66" charset="0"/>
              </a:rPr>
              <a:t> </a:t>
            </a:r>
            <a:endParaRPr lang="hu-HU" sz="3600" dirty="0">
              <a:latin typeface="Bradley Hand ITC" panose="03070402050302030203" pitchFamily="66" charset="0"/>
            </a:endParaRPr>
          </a:p>
          <a:p>
            <a:pPr marL="0" indent="0">
              <a:buNone/>
            </a:pPr>
            <a:endParaRPr lang="hu-HU" sz="3600" dirty="0">
              <a:latin typeface="Bradley Hand ITC" panose="03070402050302030203" pitchFamily="66" charset="0"/>
            </a:endParaRPr>
          </a:p>
          <a:p>
            <a:pPr marL="0" indent="0">
              <a:buNone/>
            </a:pPr>
            <a:endParaRPr lang="hu-HU" sz="3600" dirty="0">
              <a:latin typeface="Bradley Hand ITC" panose="03070402050302030203" pitchFamily="66" charset="0"/>
            </a:endParaRPr>
          </a:p>
          <a:p>
            <a:pPr marL="0" indent="0">
              <a:buNone/>
            </a:pPr>
            <a:r>
              <a:rPr lang="en-US" sz="3600" b="1" dirty="0">
                <a:solidFill>
                  <a:srgbClr val="FFFF00"/>
                </a:solidFill>
                <a:latin typeface="Bradley Hand ITC" panose="03070402050302030203" pitchFamily="66" charset="0"/>
              </a:rPr>
              <a:t>79.979 t </a:t>
            </a:r>
            <a:r>
              <a:rPr lang="en-US" sz="3600" b="1" dirty="0" err="1">
                <a:latin typeface="Bradley Hand ITC" panose="03070402050302030203" pitchFamily="66" charset="0"/>
              </a:rPr>
              <a:t>szóját</a:t>
            </a:r>
            <a:r>
              <a:rPr lang="en-US" sz="3600" b="1" dirty="0">
                <a:latin typeface="Bradley Hand ITC" panose="03070402050302030203" pitchFamily="66" charset="0"/>
              </a:rPr>
              <a:t> </a:t>
            </a:r>
            <a:r>
              <a:rPr lang="en-US" sz="3600" dirty="0" err="1">
                <a:latin typeface="Bradley Hand ITC" panose="03070402050302030203" pitchFamily="66" charset="0"/>
              </a:rPr>
              <a:t>váltottunk</a:t>
            </a:r>
            <a:r>
              <a:rPr lang="en-US" sz="3600" dirty="0">
                <a:latin typeface="Bradley Hand ITC" panose="03070402050302030203" pitchFamily="66" charset="0"/>
              </a:rPr>
              <a:t> ki</a:t>
            </a:r>
            <a:r>
              <a:rPr lang="hu-HU" sz="3600" dirty="0">
                <a:latin typeface="Bradley Hand ITC" panose="03070402050302030203" pitchFamily="66" charset="0"/>
              </a:rPr>
              <a:t>.</a:t>
            </a:r>
            <a:endParaRPr lang="en-US" sz="3600" dirty="0">
              <a:latin typeface="Bradley Hand ITC" panose="03070402050302030203" pitchFamily="66" charset="0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E49CC64F-7275-4E33-961B-0C5CDC4398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 flipV="1">
            <a:off x="1" y="0"/>
            <a:ext cx="7188051" cy="6858000"/>
          </a:xfrm>
          <a:custGeom>
            <a:avLst/>
            <a:gdLst>
              <a:gd name="connsiteX0" fmla="*/ 7188051 w 7188051"/>
              <a:gd name="connsiteY0" fmla="*/ 6858000 h 6858000"/>
              <a:gd name="connsiteX1" fmla="*/ 108694 w 7188051"/>
              <a:gd name="connsiteY1" fmla="*/ 6858000 h 6858000"/>
              <a:gd name="connsiteX2" fmla="*/ 79127 w 7188051"/>
              <a:gd name="connsiteY2" fmla="*/ 6681235 h 6858000"/>
              <a:gd name="connsiteX3" fmla="*/ 0 w 7188051"/>
              <a:gd name="connsiteY3" fmla="*/ 5565888 h 6858000"/>
              <a:gd name="connsiteX4" fmla="*/ 2190696 w 7188051"/>
              <a:gd name="connsiteY4" fmla="*/ 145339 h 6858000"/>
              <a:gd name="connsiteX5" fmla="*/ 2339431 w 7188051"/>
              <a:gd name="connsiteY5" fmla="*/ 0 h 6858000"/>
              <a:gd name="connsiteX6" fmla="*/ 7188051 w 7188051"/>
              <a:gd name="connsiteY6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188051" h="6858000">
                <a:moveTo>
                  <a:pt x="7188051" y="6858000"/>
                </a:moveTo>
                <a:lnTo>
                  <a:pt x="108694" y="6858000"/>
                </a:lnTo>
                <a:lnTo>
                  <a:pt x="79127" y="6681235"/>
                </a:lnTo>
                <a:cubicBezTo>
                  <a:pt x="26981" y="6316967"/>
                  <a:pt x="0" y="5944579"/>
                  <a:pt x="0" y="5565888"/>
                </a:cubicBezTo>
                <a:cubicBezTo>
                  <a:pt x="0" y="3459953"/>
                  <a:pt x="834428" y="1548908"/>
                  <a:pt x="2190696" y="145339"/>
                </a:cubicBezTo>
                <a:lnTo>
                  <a:pt x="2339431" y="0"/>
                </a:lnTo>
                <a:lnTo>
                  <a:pt x="7188051" y="0"/>
                </a:lnTo>
                <a:close/>
              </a:path>
            </a:pathLst>
          </a:custGeom>
          <a:solidFill>
            <a:schemeClr val="tx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" name="Picture 4" descr="A picture containing water, boat, outdoor, ship&#10;&#10;Description automatically generated">
            <a:extLst>
              <a:ext uri="{FF2B5EF4-FFF2-40B4-BE49-F238E27FC236}">
                <a16:creationId xmlns:a16="http://schemas.microsoft.com/office/drawing/2014/main" id="{E8FC5D11-010C-49A9-9781-35B6BC0856A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810" r="18623" b="-1"/>
          <a:stretch/>
        </p:blipFill>
        <p:spPr>
          <a:xfrm>
            <a:off x="1" y="10"/>
            <a:ext cx="7028495" cy="6857990"/>
          </a:xfrm>
          <a:custGeom>
            <a:avLst/>
            <a:gdLst/>
            <a:ahLst/>
            <a:cxnLst/>
            <a:rect l="l" t="t" r="r" b="b"/>
            <a:pathLst>
              <a:path w="7028495" h="6858000">
                <a:moveTo>
                  <a:pt x="0" y="0"/>
                </a:moveTo>
                <a:lnTo>
                  <a:pt x="6915668" y="0"/>
                </a:lnTo>
                <a:lnTo>
                  <a:pt x="6952411" y="219663"/>
                </a:lnTo>
                <a:cubicBezTo>
                  <a:pt x="7002551" y="569921"/>
                  <a:pt x="7028495" y="927986"/>
                  <a:pt x="7028495" y="1292112"/>
                </a:cubicBezTo>
                <a:cubicBezTo>
                  <a:pt x="7028495" y="3343346"/>
                  <a:pt x="6205186" y="5202289"/>
                  <a:pt x="4870994" y="6556512"/>
                </a:cubicBezTo>
                <a:lnTo>
                  <a:pt x="4556185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02455501-DCF1-44CF-A6B3-91F795CCA06A}"/>
              </a:ext>
            </a:extLst>
          </p:cNvPr>
          <p:cNvSpPr/>
          <p:nvPr/>
        </p:nvSpPr>
        <p:spPr>
          <a:xfrm>
            <a:off x="10774017" y="0"/>
            <a:ext cx="1411357" cy="397565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7292585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K9JBanOjGEKq8uWNN.R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0gPcbdwgR7jIjMdxVMN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_dMkZbQyvTBkL1opT4U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0gPcbdwgR7jIjMdxVMN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_dMkZbQyvTBkL1opT4U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XK9JBanOjGEKq8uWNN.R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VNhtjgSH.a2rCzeEaJ3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TBX..eKkeB1U.yt0z12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nVNhtjgSH.a2rCzeEaJ3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TBX..eKkeB1U.yt0z12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0s0rn.Q_SBMttUd9Uh4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0s0rn.Q_SBMttUd9Uh4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KSlxouSA2gIhOV4MKO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0KSlxouSA2gIhOV4MKOt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0s0rn.Q_SBMttUd9Uh4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YC9_SDxYFmUIQ2La0JH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jIbkAS0jcfJ5qAie_NVN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4112217333376588294.Classification"/>
  <p:tag name="ZOAWTYPE" val="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Language.Doc.Page"/>
  <p:tag name="ZOAWTYPE" val="Text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510271309237556990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dQQNHtB0uLEGcCdJBeN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4565435644543565464545.Name"/>
  <p:tag name="ZOAWTYPE" val="Tex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11383784387345873647.BusinessGroup"/>
  <p:tag name="ZOAWTYPE" val="Text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ZOAWCODE" val="2003785909782749825973.PowerPointProductLogo43"/>
  <p:tag name="ZOAWTYPE" val="Image"/>
  <p:tag name="ZOAWSESSIONUID" val="2015102713092483660928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Hb6FXGdk.zQQkhEiBqP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_dMkZbQyvTBkL1opT4U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XBk5wXMqinZ6c1YIwGH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0gPcbdwgR7jIjMdxVMN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_dMkZbQyvTBkL1opT4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7mTINOBPU5kg5XVpatq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_dMkZbQyvTBkL1opT4U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F7Wtkn4MHW4iSGsPWA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jEnRvivsO9Ii2HsY_.c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siVo1xIY4L7wVxhS1ZLq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awU_HwFJzxs.NDBYGck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DSM / Multi color">
  <a:themeElements>
    <a:clrScheme name="DSM blue">
      <a:dk1>
        <a:srgbClr val="000000"/>
      </a:dk1>
      <a:lt1>
        <a:srgbClr val="FFFFFF"/>
      </a:lt1>
      <a:dk2>
        <a:srgbClr val="003478"/>
      </a:dk2>
      <a:lt2>
        <a:srgbClr val="FFFFFF"/>
      </a:lt2>
      <a:accent1>
        <a:srgbClr val="83D0F5"/>
      </a:accent1>
      <a:accent2>
        <a:srgbClr val="009FE3"/>
      </a:accent2>
      <a:accent3>
        <a:srgbClr val="0070BA"/>
      </a:accent3>
      <a:accent4>
        <a:srgbClr val="003478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multicolor_Fira_Sans - Copy.potx" id="{A43BA791-1CF0-4B8C-90B8-F22E763AA679}" vid="{5AD1217C-C2A8-4145-A417-1828340FB749}"/>
    </a:ext>
  </a:extLst>
</a:theme>
</file>

<file path=ppt/theme/theme4.xml><?xml version="1.0" encoding="utf-8"?>
<a:theme xmlns:a="http://schemas.openxmlformats.org/drawingml/2006/main" name="8_Default Design">
  <a:themeElements>
    <a:clrScheme name="1_Default Design 1">
      <a:dk1>
        <a:srgbClr val="000000"/>
      </a:dk1>
      <a:lt1>
        <a:srgbClr val="FFFFFF"/>
      </a:lt1>
      <a:dk2>
        <a:srgbClr val="0070BA"/>
      </a:dk2>
      <a:lt2>
        <a:srgbClr val="5F5F5F"/>
      </a:lt2>
      <a:accent1>
        <a:srgbClr val="83D0F5"/>
      </a:accent1>
      <a:accent2>
        <a:srgbClr val="009FE3"/>
      </a:accent2>
      <a:accent3>
        <a:srgbClr val="FFFFFF"/>
      </a:accent3>
      <a:accent4>
        <a:srgbClr val="000000"/>
      </a:accent4>
      <a:accent5>
        <a:srgbClr val="C1E4F9"/>
      </a:accent5>
      <a:accent6>
        <a:srgbClr val="0090CE"/>
      </a:accent6>
      <a:hlink>
        <a:srgbClr val="0070BA"/>
      </a:hlink>
      <a:folHlink>
        <a:srgbClr val="1A2B68"/>
      </a:folHlink>
    </a:clrScheme>
    <a:fontScheme name="1_Default Design">
      <a:majorFont>
        <a:latin typeface="Trebuchet MS"/>
        <a:ea typeface=""/>
        <a:cs typeface="Arial"/>
      </a:majorFont>
      <a:minorFont>
        <a:latin typeface="Trebuchet MS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nl-NL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cs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70BA"/>
        </a:dk2>
        <a:lt2>
          <a:srgbClr val="5F5F5F"/>
        </a:lt2>
        <a:accent1>
          <a:srgbClr val="83D0F5"/>
        </a:accent1>
        <a:accent2>
          <a:srgbClr val="009FE3"/>
        </a:accent2>
        <a:accent3>
          <a:srgbClr val="FFFFFF"/>
        </a:accent3>
        <a:accent4>
          <a:srgbClr val="000000"/>
        </a:accent4>
        <a:accent5>
          <a:srgbClr val="C1E4F9"/>
        </a:accent5>
        <a:accent6>
          <a:srgbClr val="0090CE"/>
        </a:accent6>
        <a:hlink>
          <a:srgbClr val="0070BA"/>
        </a:hlink>
        <a:folHlink>
          <a:srgbClr val="1A2B6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7E4B"/>
        </a:dk2>
        <a:lt2>
          <a:srgbClr val="5F5F5F"/>
        </a:lt2>
        <a:accent1>
          <a:srgbClr val="AAD29A"/>
        </a:accent1>
        <a:accent2>
          <a:srgbClr val="009B97"/>
        </a:accent2>
        <a:accent3>
          <a:srgbClr val="FFFFFF"/>
        </a:accent3>
        <a:accent4>
          <a:srgbClr val="000000"/>
        </a:accent4>
        <a:accent5>
          <a:srgbClr val="D2E5CA"/>
        </a:accent5>
        <a:accent6>
          <a:srgbClr val="008C88"/>
        </a:accent6>
        <a:hlink>
          <a:srgbClr val="007E4B"/>
        </a:hlink>
        <a:folHlink>
          <a:srgbClr val="45AC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F57922"/>
        </a:dk2>
        <a:lt2>
          <a:srgbClr val="5F5F5F"/>
        </a:lt2>
        <a:accent1>
          <a:srgbClr val="F9B672"/>
        </a:accent1>
        <a:accent2>
          <a:srgbClr val="EE7203"/>
        </a:accent2>
        <a:accent3>
          <a:srgbClr val="FFFFFF"/>
        </a:accent3>
        <a:accent4>
          <a:srgbClr val="000000"/>
        </a:accent4>
        <a:accent5>
          <a:srgbClr val="FBD7BC"/>
        </a:accent5>
        <a:accent6>
          <a:srgbClr val="D86702"/>
        </a:accent6>
        <a:hlink>
          <a:srgbClr val="E51F22"/>
        </a:hlink>
        <a:folHlink>
          <a:srgbClr val="970D3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FF"/>
        </a:lt1>
        <a:dk2>
          <a:srgbClr val="7B1F62"/>
        </a:dk2>
        <a:lt2>
          <a:srgbClr val="5F5F5F"/>
        </a:lt2>
        <a:accent1>
          <a:srgbClr val="D68AB3"/>
        </a:accent1>
        <a:accent2>
          <a:srgbClr val="BD0A79"/>
        </a:accent2>
        <a:accent3>
          <a:srgbClr val="FFFFFF"/>
        </a:accent3>
        <a:accent4>
          <a:srgbClr val="000000"/>
        </a:accent4>
        <a:accent5>
          <a:srgbClr val="E8C4D6"/>
        </a:accent5>
        <a:accent6>
          <a:srgbClr val="AB086D"/>
        </a:accent6>
        <a:hlink>
          <a:srgbClr val="7B1F62"/>
        </a:hlink>
        <a:folHlink>
          <a:srgbClr val="521B6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DSM / Blue">
  <a:themeElements>
    <a:clrScheme name="DSM blue">
      <a:dk1>
        <a:srgbClr val="000000"/>
      </a:dk1>
      <a:lt1>
        <a:srgbClr val="FFFFFF"/>
      </a:lt1>
      <a:dk2>
        <a:srgbClr val="003478"/>
      </a:dk2>
      <a:lt2>
        <a:srgbClr val="FFFFFF"/>
      </a:lt2>
      <a:accent1>
        <a:srgbClr val="83D0F5"/>
      </a:accent1>
      <a:accent2>
        <a:srgbClr val="009FE3"/>
      </a:accent2>
      <a:accent3>
        <a:srgbClr val="0070BA"/>
      </a:accent3>
      <a:accent4>
        <a:srgbClr val="003478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blue_Fira_Sans_RV.potx" id="{6F31FA1A-EF7B-47B8-AD48-896D052367E4}" vid="{0F4264D6-318A-4BD7-9D3A-FC5BDE97D4D7}"/>
    </a:ext>
  </a:extLst>
</a:theme>
</file>

<file path=ppt/theme/theme6.xml><?xml version="1.0" encoding="utf-8"?>
<a:theme xmlns:a="http://schemas.openxmlformats.org/drawingml/2006/main" name="1_DSM / Blue">
  <a:themeElements>
    <a:clrScheme name="DSM blue">
      <a:dk1>
        <a:srgbClr val="000000"/>
      </a:dk1>
      <a:lt1>
        <a:srgbClr val="FFFFFF"/>
      </a:lt1>
      <a:dk2>
        <a:srgbClr val="003478"/>
      </a:dk2>
      <a:lt2>
        <a:srgbClr val="FFFFFF"/>
      </a:lt2>
      <a:accent1>
        <a:srgbClr val="83D0F5"/>
      </a:accent1>
      <a:accent2>
        <a:srgbClr val="009FE3"/>
      </a:accent2>
      <a:accent3>
        <a:srgbClr val="0070BA"/>
      </a:accent3>
      <a:accent4>
        <a:srgbClr val="003478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blue_Fira_Sans_RV.potx" id="{6F31FA1A-EF7B-47B8-AD48-896D052367E4}" vid="{0F4264D6-318A-4BD7-9D3A-FC5BDE97D4D7}"/>
    </a:ext>
  </a:extLst>
</a:theme>
</file>

<file path=ppt/theme/theme7.xml><?xml version="1.0" encoding="utf-8"?>
<a:theme xmlns:a="http://schemas.openxmlformats.org/drawingml/2006/main" name="DSM / Green">
  <a:themeElements>
    <a:clrScheme name="DSM green">
      <a:dk1>
        <a:srgbClr val="000000"/>
      </a:dk1>
      <a:lt1>
        <a:srgbClr val="FFFFFF"/>
      </a:lt1>
      <a:dk2>
        <a:srgbClr val="007E4B"/>
      </a:dk2>
      <a:lt2>
        <a:srgbClr val="FFFFFF"/>
      </a:lt2>
      <a:accent1>
        <a:srgbClr val="AAD29A"/>
      </a:accent1>
      <a:accent2>
        <a:srgbClr val="009B97"/>
      </a:accent2>
      <a:accent3>
        <a:srgbClr val="45AC34"/>
      </a:accent3>
      <a:accent4>
        <a:srgbClr val="338126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Powerpoint_Template_green_Fira_Sans_RV.potx" id="{C2E60D20-27B4-4DEA-9F13-E7B1CB588B2F}" vid="{B2AC90EE-15E3-4880-B51E-CD89375D8AC6}"/>
    </a:ext>
  </a:extLst>
</a:theme>
</file>

<file path=ppt/theme/theme8.xml><?xml version="1.0" encoding="utf-8"?>
<a:theme xmlns:a="http://schemas.openxmlformats.org/drawingml/2006/main" name="2_DSM / Multi color">
  <a:themeElements>
    <a:clrScheme name="DSM blue">
      <a:dk1>
        <a:srgbClr val="000000"/>
      </a:dk1>
      <a:lt1>
        <a:srgbClr val="FFFFFF"/>
      </a:lt1>
      <a:dk2>
        <a:srgbClr val="003478"/>
      </a:dk2>
      <a:lt2>
        <a:srgbClr val="FFFFFF"/>
      </a:lt2>
      <a:accent1>
        <a:srgbClr val="83D0F5"/>
      </a:accent1>
      <a:accent2>
        <a:srgbClr val="009FE3"/>
      </a:accent2>
      <a:accent3>
        <a:srgbClr val="0070BA"/>
      </a:accent3>
      <a:accent4>
        <a:srgbClr val="003478"/>
      </a:accent4>
      <a:accent5>
        <a:srgbClr val="FFCD00"/>
      </a:accent5>
      <a:accent6>
        <a:srgbClr val="D0DF00"/>
      </a:accent6>
      <a:hlink>
        <a:srgbClr val="A8AD00"/>
      </a:hlink>
      <a:folHlink>
        <a:srgbClr val="7F7F7F"/>
      </a:folHlink>
    </a:clrScheme>
    <a:fontScheme name="DSM Fira-Sans">
      <a:majorFont>
        <a:latin typeface="Fira Sans Medium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SM_multicolor_fira-sans_v2" id="{21383FF0-FA68-491D-A832-485E2B097C05}" vid="{B94E2010-4FAC-41B9-883A-38138D36507F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DSM blue">
    <a:dk1>
      <a:srgbClr val="000000"/>
    </a:dk1>
    <a:lt1>
      <a:srgbClr val="FFFFFF"/>
    </a:lt1>
    <a:dk2>
      <a:srgbClr val="003478"/>
    </a:dk2>
    <a:lt2>
      <a:srgbClr val="FFFFFF"/>
    </a:lt2>
    <a:accent1>
      <a:srgbClr val="83D0F5"/>
    </a:accent1>
    <a:accent2>
      <a:srgbClr val="009FE3"/>
    </a:accent2>
    <a:accent3>
      <a:srgbClr val="0070BA"/>
    </a:accent3>
    <a:accent4>
      <a:srgbClr val="003478"/>
    </a:accent4>
    <a:accent5>
      <a:srgbClr val="FFCD00"/>
    </a:accent5>
    <a:accent6>
      <a:srgbClr val="D0DF00"/>
    </a:accent6>
    <a:hlink>
      <a:srgbClr val="A8AD00"/>
    </a:hlink>
    <a:folHlink>
      <a:srgbClr val="7F7F7F"/>
    </a:folHlink>
  </a:clrScheme>
</a:themeOverride>
</file>

<file path=ppt/theme/themeOverride2.xml><?xml version="1.0" encoding="utf-8"?>
<a:themeOverride xmlns:a="http://schemas.openxmlformats.org/drawingml/2006/main">
  <a:clrScheme name="1_Default Design 1">
    <a:dk1>
      <a:srgbClr val="000000"/>
    </a:dk1>
    <a:lt1>
      <a:srgbClr val="FFFFFF"/>
    </a:lt1>
    <a:dk2>
      <a:srgbClr val="0070BA"/>
    </a:dk2>
    <a:lt2>
      <a:srgbClr val="5F5F5F"/>
    </a:lt2>
    <a:accent1>
      <a:srgbClr val="83D0F5"/>
    </a:accent1>
    <a:accent2>
      <a:srgbClr val="009FE3"/>
    </a:accent2>
    <a:accent3>
      <a:srgbClr val="FFFFFF"/>
    </a:accent3>
    <a:accent4>
      <a:srgbClr val="000000"/>
    </a:accent4>
    <a:accent5>
      <a:srgbClr val="C1E4F9"/>
    </a:accent5>
    <a:accent6>
      <a:srgbClr val="0090CE"/>
    </a:accent6>
    <a:hlink>
      <a:srgbClr val="0070BA"/>
    </a:hlink>
    <a:folHlink>
      <a:srgbClr val="1A2B68"/>
    </a:folHlink>
  </a:clrScheme>
</a:themeOverride>
</file>

<file path=ppt/theme/themeOverride3.xml><?xml version="1.0" encoding="utf-8"?>
<a:themeOverride xmlns:a="http://schemas.openxmlformats.org/drawingml/2006/main">
  <a:clrScheme name="1_Default Design 1">
    <a:dk1>
      <a:srgbClr val="000000"/>
    </a:dk1>
    <a:lt1>
      <a:srgbClr val="FFFFFF"/>
    </a:lt1>
    <a:dk2>
      <a:srgbClr val="0070BA"/>
    </a:dk2>
    <a:lt2>
      <a:srgbClr val="5F5F5F"/>
    </a:lt2>
    <a:accent1>
      <a:srgbClr val="83D0F5"/>
    </a:accent1>
    <a:accent2>
      <a:srgbClr val="009FE3"/>
    </a:accent2>
    <a:accent3>
      <a:srgbClr val="FFFFFF"/>
    </a:accent3>
    <a:accent4>
      <a:srgbClr val="000000"/>
    </a:accent4>
    <a:accent5>
      <a:srgbClr val="C1E4F9"/>
    </a:accent5>
    <a:accent6>
      <a:srgbClr val="0090CE"/>
    </a:accent6>
    <a:hlink>
      <a:srgbClr val="0070BA"/>
    </a:hlink>
    <a:folHlink>
      <a:srgbClr val="1A2B68"/>
    </a:folHlink>
  </a:clrScheme>
</a:themeOverride>
</file>

<file path=ppt/theme/themeOverride4.xml><?xml version="1.0" encoding="utf-8"?>
<a:themeOverride xmlns:a="http://schemas.openxmlformats.org/drawingml/2006/main">
  <a:clrScheme name="1_Default Design 1">
    <a:dk1>
      <a:srgbClr val="000000"/>
    </a:dk1>
    <a:lt1>
      <a:srgbClr val="FFFFFF"/>
    </a:lt1>
    <a:dk2>
      <a:srgbClr val="0070BA"/>
    </a:dk2>
    <a:lt2>
      <a:srgbClr val="5F5F5F"/>
    </a:lt2>
    <a:accent1>
      <a:srgbClr val="83D0F5"/>
    </a:accent1>
    <a:accent2>
      <a:srgbClr val="009FE3"/>
    </a:accent2>
    <a:accent3>
      <a:srgbClr val="FFFFFF"/>
    </a:accent3>
    <a:accent4>
      <a:srgbClr val="000000"/>
    </a:accent4>
    <a:accent5>
      <a:srgbClr val="C1E4F9"/>
    </a:accent5>
    <a:accent6>
      <a:srgbClr val="0090CE"/>
    </a:accent6>
    <a:hlink>
      <a:srgbClr val="0070BA"/>
    </a:hlink>
    <a:folHlink>
      <a:srgbClr val="1A2B68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211</TotalTime>
  <Words>1225</Words>
  <Application>Microsoft Office PowerPoint</Application>
  <PresentationFormat>Widescreen</PresentationFormat>
  <Paragraphs>299</Paragraphs>
  <Slides>42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63" baseType="lpstr">
      <vt:lpstr>Arial</vt:lpstr>
      <vt:lpstr>Bradley Hand ITC</vt:lpstr>
      <vt:lpstr>Calibri</vt:lpstr>
      <vt:lpstr>Calibri Light</vt:lpstr>
      <vt:lpstr>Fira Sans</vt:lpstr>
      <vt:lpstr>Fira Sans Light</vt:lpstr>
      <vt:lpstr>Fira Sans Medium</vt:lpstr>
      <vt:lpstr>Fira Sans Regular</vt:lpstr>
      <vt:lpstr>Franklin Gothic Heavy</vt:lpstr>
      <vt:lpstr>trebuchet ms</vt:lpstr>
      <vt:lpstr>trebuchet ms</vt:lpstr>
      <vt:lpstr>Wingdings</vt:lpstr>
      <vt:lpstr>Office Theme</vt:lpstr>
      <vt:lpstr>1_Office Theme</vt:lpstr>
      <vt:lpstr>DSM / Multi color</vt:lpstr>
      <vt:lpstr>8_Default Design</vt:lpstr>
      <vt:lpstr>DSM / Blue</vt:lpstr>
      <vt:lpstr>1_DSM / Blue</vt:lpstr>
      <vt:lpstr>DSM / Green</vt:lpstr>
      <vt:lpstr>2_DSM / Multi color</vt:lpstr>
      <vt:lpstr>think-cell Slide</vt:lpstr>
      <vt:lpstr>Együtt megvalósítjuk! Megoldásunk a piac kihívásaira </vt:lpstr>
      <vt:lpstr>Rendhagyó történelem óra</vt:lpstr>
      <vt:lpstr>20 év…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Eladott Mycofix@</vt:lpstr>
      <vt:lpstr>PowerPoint Presentation</vt:lpstr>
      <vt:lpstr>7657 minta toxinvizsgálata a tulln-i laborunkban</vt:lpstr>
      <vt:lpstr>A jelen és jövő…</vt:lpstr>
      <vt:lpstr>PowerPoint Presentation</vt:lpstr>
      <vt:lpstr>PowerPoint Presentation</vt:lpstr>
      <vt:lpstr>Alapanyag / takarmány adalék piac</vt:lpstr>
      <vt:lpstr>Vitaminok</vt:lpstr>
      <vt:lpstr>Vitaminok</vt:lpstr>
      <vt:lpstr>Aminosavak</vt:lpstr>
      <vt:lpstr>Mineráliák és egyéb alapanyagok</vt:lpstr>
      <vt:lpstr>PowerPoint Presentation</vt:lpstr>
      <vt:lpstr>PowerPoint Presentation</vt:lpstr>
      <vt:lpstr>PERFORMANCE PORTFOLIO</vt:lpstr>
      <vt:lpstr>PowerPoint Presentation</vt:lpstr>
      <vt:lpstr>PERFORMANCE PORTFOLIO</vt:lpstr>
      <vt:lpstr>Alapanyag mikotoxin szintek Közép-európában 2022-ben</vt:lpstr>
      <vt:lpstr>Mikotoxin trendek 2018 óta Közép-európában</vt:lpstr>
      <vt:lpstr>Mikotoxin aktualitások</vt:lpstr>
      <vt:lpstr>PERFORMANCE PORTFOLIO</vt:lpstr>
      <vt:lpstr>PERFORMANCE PORTFOLIO</vt:lpstr>
      <vt:lpstr>PowerPoint Presentation</vt:lpstr>
      <vt:lpstr>PowerPoint Presentation</vt:lpstr>
      <vt:lpstr>Szolgáltatások</vt:lpstr>
      <vt:lpstr>PowerPoint Presentation</vt:lpstr>
      <vt:lpstr>PowerPoint Presentation</vt:lpstr>
      <vt:lpstr>Szolgáltatások</vt:lpstr>
      <vt:lpstr>Services</vt:lpstr>
      <vt:lpstr>Premix üzem fejlesztés – Danubia projekt</vt:lpstr>
      <vt:lpstr>PowerPoint Presentation</vt:lpstr>
      <vt:lpstr>PowerPoint Presentation</vt:lpstr>
      <vt:lpstr>PowerPoint Presentation</vt:lpstr>
    </vt:vector>
  </TitlesOfParts>
  <Company>DS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savajda, Zsolt</dc:creator>
  <cp:lastModifiedBy>Csavajda, Zsolt</cp:lastModifiedBy>
  <cp:revision>104</cp:revision>
  <dcterms:created xsi:type="dcterms:W3CDTF">2022-09-26T07:36:50Z</dcterms:created>
  <dcterms:modified xsi:type="dcterms:W3CDTF">2022-09-29T06:25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79dc149-7c28-4bdf-88ba-07214dba9bb1_Enabled">
    <vt:lpwstr>true</vt:lpwstr>
  </property>
  <property fmtid="{D5CDD505-2E9C-101B-9397-08002B2CF9AE}" pid="3" name="MSIP_Label_279dc149-7c28-4bdf-88ba-07214dba9bb1_SetDate">
    <vt:lpwstr>2022-09-29T06:25:46Z</vt:lpwstr>
  </property>
  <property fmtid="{D5CDD505-2E9C-101B-9397-08002B2CF9AE}" pid="4" name="MSIP_Label_279dc149-7c28-4bdf-88ba-07214dba9bb1_Method">
    <vt:lpwstr>Privileged</vt:lpwstr>
  </property>
  <property fmtid="{D5CDD505-2E9C-101B-9397-08002B2CF9AE}" pid="5" name="MSIP_Label_279dc149-7c28-4bdf-88ba-07214dba9bb1_Name">
    <vt:lpwstr>279dc149-7c28-4bdf-88ba-07214dba9bb1</vt:lpwstr>
  </property>
  <property fmtid="{D5CDD505-2E9C-101B-9397-08002B2CF9AE}" pid="6" name="MSIP_Label_279dc149-7c28-4bdf-88ba-07214dba9bb1_SiteId">
    <vt:lpwstr>49618402-6ea3-441d-957d-7df8773fee54</vt:lpwstr>
  </property>
  <property fmtid="{D5CDD505-2E9C-101B-9397-08002B2CF9AE}" pid="7" name="MSIP_Label_279dc149-7c28-4bdf-88ba-07214dba9bb1_ActionId">
    <vt:lpwstr>934e9fd6-1d47-4088-a1aa-5c96afd3257b</vt:lpwstr>
  </property>
  <property fmtid="{D5CDD505-2E9C-101B-9397-08002B2CF9AE}" pid="8" name="MSIP_Label_279dc149-7c28-4bdf-88ba-07214dba9bb1_ContentBits">
    <vt:lpwstr>1</vt:lpwstr>
  </property>
</Properties>
</file>